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1.xml" ContentType="application/vnd.openxmlformats-officedocument.themeOverrid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ppt/charts/chart2.xml" ContentType="application/vnd.openxmlformats-officedocument.drawingml.chart+xml"/>
  <Override PartName="/ppt/theme/themeOverride3.xml" ContentType="application/vnd.openxmlformats-officedocument.themeOverr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4264" r:id="rId2"/>
    <p:sldMasterId id="2147484277" r:id="rId3"/>
    <p:sldMasterId id="2147484292" r:id="rId4"/>
    <p:sldMasterId id="2147484307" r:id="rId5"/>
    <p:sldMasterId id="2147484335" r:id="rId6"/>
    <p:sldMasterId id="2147484349" r:id="rId7"/>
    <p:sldMasterId id="2147484365" r:id="rId8"/>
    <p:sldMasterId id="2147484377" r:id="rId9"/>
    <p:sldMasterId id="2147484420" r:id="rId10"/>
    <p:sldMasterId id="2147484450" r:id="rId11"/>
    <p:sldMasterId id="2147484464" r:id="rId12"/>
  </p:sldMasterIdLst>
  <p:notesMasterIdLst>
    <p:notesMasterId r:id="rId109"/>
  </p:notesMasterIdLst>
  <p:handoutMasterIdLst>
    <p:handoutMasterId r:id="rId110"/>
  </p:handoutMasterIdLst>
  <p:sldIdLst>
    <p:sldId id="763" r:id="rId13"/>
    <p:sldId id="776" r:id="rId14"/>
    <p:sldId id="764" r:id="rId15"/>
    <p:sldId id="777" r:id="rId16"/>
    <p:sldId id="706" r:id="rId17"/>
    <p:sldId id="778" r:id="rId18"/>
    <p:sldId id="718" r:id="rId19"/>
    <p:sldId id="779" r:id="rId20"/>
    <p:sldId id="724" r:id="rId21"/>
    <p:sldId id="780" r:id="rId22"/>
    <p:sldId id="708" r:id="rId23"/>
    <p:sldId id="781" r:id="rId24"/>
    <p:sldId id="710" r:id="rId25"/>
    <p:sldId id="782" r:id="rId26"/>
    <p:sldId id="709" r:id="rId27"/>
    <p:sldId id="783" r:id="rId28"/>
    <p:sldId id="711" r:id="rId29"/>
    <p:sldId id="784" r:id="rId30"/>
    <p:sldId id="769" r:id="rId31"/>
    <p:sldId id="785" r:id="rId32"/>
    <p:sldId id="713" r:id="rId33"/>
    <p:sldId id="786" r:id="rId34"/>
    <p:sldId id="714" r:id="rId35"/>
    <p:sldId id="787" r:id="rId36"/>
    <p:sldId id="715" r:id="rId37"/>
    <p:sldId id="788" r:id="rId38"/>
    <p:sldId id="747" r:id="rId39"/>
    <p:sldId id="789" r:id="rId40"/>
    <p:sldId id="748" r:id="rId41"/>
    <p:sldId id="790" r:id="rId42"/>
    <p:sldId id="716" r:id="rId43"/>
    <p:sldId id="791" r:id="rId44"/>
    <p:sldId id="762" r:id="rId45"/>
    <p:sldId id="792" r:id="rId46"/>
    <p:sldId id="753" r:id="rId47"/>
    <p:sldId id="759" r:id="rId48"/>
    <p:sldId id="793" r:id="rId49"/>
    <p:sldId id="760" r:id="rId50"/>
    <p:sldId id="794" r:id="rId51"/>
    <p:sldId id="761" r:id="rId52"/>
    <p:sldId id="719" r:id="rId53"/>
    <p:sldId id="795" r:id="rId54"/>
    <p:sldId id="720" r:id="rId55"/>
    <p:sldId id="796" r:id="rId56"/>
    <p:sldId id="721" r:id="rId57"/>
    <p:sldId id="797" r:id="rId58"/>
    <p:sldId id="722" r:id="rId59"/>
    <p:sldId id="798" r:id="rId60"/>
    <p:sldId id="799" r:id="rId61"/>
    <p:sldId id="749" r:id="rId62"/>
    <p:sldId id="750" r:id="rId63"/>
    <p:sldId id="800" r:id="rId64"/>
    <p:sldId id="751" r:id="rId65"/>
    <p:sldId id="801" r:id="rId66"/>
    <p:sldId id="752" r:id="rId67"/>
    <p:sldId id="802" r:id="rId68"/>
    <p:sldId id="737" r:id="rId69"/>
    <p:sldId id="803" r:id="rId70"/>
    <p:sldId id="738" r:id="rId71"/>
    <p:sldId id="804" r:id="rId72"/>
    <p:sldId id="739" r:id="rId73"/>
    <p:sldId id="805" r:id="rId74"/>
    <p:sldId id="740" r:id="rId75"/>
    <p:sldId id="806" r:id="rId76"/>
    <p:sldId id="741" r:id="rId77"/>
    <p:sldId id="807" r:id="rId78"/>
    <p:sldId id="742" r:id="rId79"/>
    <p:sldId id="808" r:id="rId80"/>
    <p:sldId id="743" r:id="rId81"/>
    <p:sldId id="809" r:id="rId82"/>
    <p:sldId id="744" r:id="rId83"/>
    <p:sldId id="810" r:id="rId84"/>
    <p:sldId id="745" r:id="rId85"/>
    <p:sldId id="811" r:id="rId86"/>
    <p:sldId id="687" r:id="rId87"/>
    <p:sldId id="812" r:id="rId88"/>
    <p:sldId id="770" r:id="rId89"/>
    <p:sldId id="813" r:id="rId90"/>
    <p:sldId id="771" r:id="rId91"/>
    <p:sldId id="814" r:id="rId92"/>
    <p:sldId id="772" r:id="rId93"/>
    <p:sldId id="815" r:id="rId94"/>
    <p:sldId id="774" r:id="rId95"/>
    <p:sldId id="816" r:id="rId96"/>
    <p:sldId id="817" r:id="rId97"/>
    <p:sldId id="775" r:id="rId98"/>
    <p:sldId id="773" r:id="rId99"/>
    <p:sldId id="818" r:id="rId100"/>
    <p:sldId id="734" r:id="rId101"/>
    <p:sldId id="819" r:id="rId102"/>
    <p:sldId id="733" r:id="rId103"/>
    <p:sldId id="820" r:id="rId104"/>
    <p:sldId id="735" r:id="rId105"/>
    <p:sldId id="821" r:id="rId106"/>
    <p:sldId id="729" r:id="rId107"/>
    <p:sldId id="822" r:id="rId108"/>
  </p:sldIdLst>
  <p:sldSz cx="9144000" cy="6858000" type="screen4x3"/>
  <p:notesSz cx="6858000" cy="9296400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7">
          <p15:clr>
            <a:srgbClr val="A4A3A4"/>
          </p15:clr>
        </p15:guide>
        <p15:guide id="2" pos="215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0C2678"/>
    <a:srgbClr val="00CC66"/>
    <a:srgbClr val="4C6AFE"/>
    <a:srgbClr val="5C77FE"/>
    <a:srgbClr val="647EFE"/>
    <a:srgbClr val="6A8CF8"/>
    <a:srgbClr val="FFFF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00" autoAdjust="0"/>
    <p:restoredTop sz="95303" autoAdjust="0"/>
  </p:normalViewPr>
  <p:slideViewPr>
    <p:cSldViewPr snapToGrid="0">
      <p:cViewPr>
        <p:scale>
          <a:sx n="77" d="100"/>
          <a:sy n="77" d="100"/>
        </p:scale>
        <p:origin x="-1164" y="2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-1714" y="658"/>
      </p:cViewPr>
      <p:guideLst>
        <p:guide orient="horz" pos="2927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84" Type="http://schemas.openxmlformats.org/officeDocument/2006/relationships/slide" Target="slides/slide72.xml"/><Relationship Id="rId89" Type="http://schemas.openxmlformats.org/officeDocument/2006/relationships/slide" Target="slides/slide77.xml"/><Relationship Id="rId112" Type="http://schemas.openxmlformats.org/officeDocument/2006/relationships/viewProps" Target="viewProps.xml"/><Relationship Id="rId16" Type="http://schemas.openxmlformats.org/officeDocument/2006/relationships/slide" Target="slides/slide4.xml"/><Relationship Id="rId107" Type="http://schemas.openxmlformats.org/officeDocument/2006/relationships/slide" Target="slides/slide95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74" Type="http://schemas.openxmlformats.org/officeDocument/2006/relationships/slide" Target="slides/slide62.xml"/><Relationship Id="rId79" Type="http://schemas.openxmlformats.org/officeDocument/2006/relationships/slide" Target="slides/slide67.xml"/><Relationship Id="rId102" Type="http://schemas.openxmlformats.org/officeDocument/2006/relationships/slide" Target="slides/slide90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8.xml"/><Relationship Id="rId95" Type="http://schemas.openxmlformats.org/officeDocument/2006/relationships/slide" Target="slides/slide83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113" Type="http://schemas.openxmlformats.org/officeDocument/2006/relationships/theme" Target="theme/theme1.xml"/><Relationship Id="rId80" Type="http://schemas.openxmlformats.org/officeDocument/2006/relationships/slide" Target="slides/slide68.xml"/><Relationship Id="rId85" Type="http://schemas.openxmlformats.org/officeDocument/2006/relationships/slide" Target="slides/slide7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59" Type="http://schemas.openxmlformats.org/officeDocument/2006/relationships/slide" Target="slides/slide47.xml"/><Relationship Id="rId103" Type="http://schemas.openxmlformats.org/officeDocument/2006/relationships/slide" Target="slides/slide91.xml"/><Relationship Id="rId108" Type="http://schemas.openxmlformats.org/officeDocument/2006/relationships/slide" Target="slides/slide96.xml"/><Relationship Id="rId54" Type="http://schemas.openxmlformats.org/officeDocument/2006/relationships/slide" Target="slides/slide42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91" Type="http://schemas.openxmlformats.org/officeDocument/2006/relationships/slide" Target="slides/slide79.xml"/><Relationship Id="rId96" Type="http://schemas.openxmlformats.org/officeDocument/2006/relationships/slide" Target="slides/slide8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6" Type="http://schemas.openxmlformats.org/officeDocument/2006/relationships/slide" Target="slides/slide94.xml"/><Relationship Id="rId114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slide" Target="slides/slide66.xml"/><Relationship Id="rId81" Type="http://schemas.openxmlformats.org/officeDocument/2006/relationships/slide" Target="slides/slide69.xml"/><Relationship Id="rId86" Type="http://schemas.openxmlformats.org/officeDocument/2006/relationships/slide" Target="slides/slide74.xml"/><Relationship Id="rId94" Type="http://schemas.openxmlformats.org/officeDocument/2006/relationships/slide" Target="slides/slide82.xml"/><Relationship Id="rId99" Type="http://schemas.openxmlformats.org/officeDocument/2006/relationships/slide" Target="slides/slide87.xml"/><Relationship Id="rId101" Type="http://schemas.openxmlformats.org/officeDocument/2006/relationships/slide" Target="slides/slide8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109" Type="http://schemas.openxmlformats.org/officeDocument/2006/relationships/notesMaster" Target="notesMasters/notesMaster1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slide" Target="slides/slide64.xml"/><Relationship Id="rId97" Type="http://schemas.openxmlformats.org/officeDocument/2006/relationships/slide" Target="slides/slide85.xml"/><Relationship Id="rId104" Type="http://schemas.openxmlformats.org/officeDocument/2006/relationships/slide" Target="slides/slide9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9.xml"/><Relationship Id="rId92" Type="http://schemas.openxmlformats.org/officeDocument/2006/relationships/slide" Target="slides/slide8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7.xml"/><Relationship Id="rId24" Type="http://schemas.openxmlformats.org/officeDocument/2006/relationships/slide" Target="slides/slide12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66" Type="http://schemas.openxmlformats.org/officeDocument/2006/relationships/slide" Target="slides/slide54.xml"/><Relationship Id="rId87" Type="http://schemas.openxmlformats.org/officeDocument/2006/relationships/slide" Target="slides/slide75.xml"/><Relationship Id="rId110" Type="http://schemas.openxmlformats.org/officeDocument/2006/relationships/handoutMaster" Target="handoutMasters/handoutMaster1.xml"/><Relationship Id="rId61" Type="http://schemas.openxmlformats.org/officeDocument/2006/relationships/slide" Target="slides/slide49.xml"/><Relationship Id="rId82" Type="http://schemas.openxmlformats.org/officeDocument/2006/relationships/slide" Target="slides/slide70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56" Type="http://schemas.openxmlformats.org/officeDocument/2006/relationships/slide" Target="slides/slide44.xml"/><Relationship Id="rId77" Type="http://schemas.openxmlformats.org/officeDocument/2006/relationships/slide" Target="slides/slide65.xml"/><Relationship Id="rId100" Type="http://schemas.openxmlformats.org/officeDocument/2006/relationships/slide" Target="slides/slide88.xml"/><Relationship Id="rId105" Type="http://schemas.openxmlformats.org/officeDocument/2006/relationships/slide" Target="slides/slide9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93" Type="http://schemas.openxmlformats.org/officeDocument/2006/relationships/slide" Target="slides/slide81.xml"/><Relationship Id="rId98" Type="http://schemas.openxmlformats.org/officeDocument/2006/relationships/slide" Target="slides/slide86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3.xml"/><Relationship Id="rId46" Type="http://schemas.openxmlformats.org/officeDocument/2006/relationships/slide" Target="slides/slide34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62" Type="http://schemas.openxmlformats.org/officeDocument/2006/relationships/slide" Target="slides/slide50.xml"/><Relationship Id="rId83" Type="http://schemas.openxmlformats.org/officeDocument/2006/relationships/slide" Target="slides/slide71.xml"/><Relationship Id="rId88" Type="http://schemas.openxmlformats.org/officeDocument/2006/relationships/slide" Target="slides/slide76.xml"/><Relationship Id="rId11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oleObject" Target="file:///C:\Users\fvanschaik\Documents\Japonica\Athens%20conference\Government%20employee%20benefits.xlsx" TargetMode="External"/><Relationship Id="rId1" Type="http://schemas.openxmlformats.org/officeDocument/2006/relationships/themeOverride" Target="../theme/themeOverride2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vanschaik\Documents\Japonica\Athens%20conference\Government%20employee%20benefits.xlsx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a-I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overnment Employee Pensions and Debt</a:t>
            </a:r>
            <a:br>
              <a:rPr lang="en-US"/>
            </a:br>
            <a:r>
              <a:rPr lang="en-US" sz="1200"/>
              <a:t>Source: 2013 financial statements</a:t>
            </a:r>
            <a:endParaRPr lang="nl-NL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G$17</c:f>
              <c:strCache>
                <c:ptCount val="1"/>
                <c:pt idx="0">
                  <c:v>Pensions/GD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H$16:$N$16</c:f>
              <c:strCache>
                <c:ptCount val="7"/>
                <c:pt idx="0">
                  <c:v>Austria</c:v>
                </c:pt>
                <c:pt idx="1">
                  <c:v>France</c:v>
                </c:pt>
                <c:pt idx="2">
                  <c:v>Ireland</c:v>
                </c:pt>
                <c:pt idx="3">
                  <c:v>UK</c:v>
                </c:pt>
                <c:pt idx="4">
                  <c:v>Australia</c:v>
                </c:pt>
                <c:pt idx="5">
                  <c:v>Canada</c:v>
                </c:pt>
                <c:pt idx="6">
                  <c:v>NZ</c:v>
                </c:pt>
              </c:strCache>
            </c:strRef>
          </c:cat>
          <c:val>
            <c:numRef>
              <c:f>Sheet1!$H$17:$N$17</c:f>
              <c:numCache>
                <c:formatCode>0%</c:formatCode>
                <c:ptCount val="7"/>
                <c:pt idx="0">
                  <c:v>1.0900000000000001</c:v>
                </c:pt>
                <c:pt idx="1">
                  <c:v>0.73</c:v>
                </c:pt>
                <c:pt idx="2">
                  <c:v>0.71</c:v>
                </c:pt>
                <c:pt idx="3">
                  <c:v>0.65</c:v>
                </c:pt>
                <c:pt idx="4">
                  <c:v>0.12</c:v>
                </c:pt>
                <c:pt idx="5">
                  <c:v>0.1</c:v>
                </c:pt>
                <c:pt idx="6">
                  <c:v>0.06</c:v>
                </c:pt>
              </c:numCache>
            </c:numRef>
          </c:val>
        </c:ser>
        <c:ser>
          <c:idx val="1"/>
          <c:order val="1"/>
          <c:tx>
            <c:strRef>
              <c:f>Sheet1!$G$18</c:f>
              <c:strCache>
                <c:ptCount val="1"/>
                <c:pt idx="0">
                  <c:v>Debt/GD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H$16:$N$16</c:f>
              <c:strCache>
                <c:ptCount val="7"/>
                <c:pt idx="0">
                  <c:v>Austria</c:v>
                </c:pt>
                <c:pt idx="1">
                  <c:v>France</c:v>
                </c:pt>
                <c:pt idx="2">
                  <c:v>Ireland</c:v>
                </c:pt>
                <c:pt idx="3">
                  <c:v>UK</c:v>
                </c:pt>
                <c:pt idx="4">
                  <c:v>Australia</c:v>
                </c:pt>
                <c:pt idx="5">
                  <c:v>Canada</c:v>
                </c:pt>
                <c:pt idx="6">
                  <c:v>NZ</c:v>
                </c:pt>
              </c:strCache>
            </c:strRef>
          </c:cat>
          <c:val>
            <c:numRef>
              <c:f>Sheet1!$H$18:$N$18</c:f>
              <c:numCache>
                <c:formatCode>0%</c:formatCode>
                <c:ptCount val="7"/>
                <c:pt idx="0">
                  <c:v>0.75</c:v>
                </c:pt>
                <c:pt idx="1">
                  <c:v>0.94</c:v>
                </c:pt>
                <c:pt idx="2">
                  <c:v>1.24</c:v>
                </c:pt>
                <c:pt idx="3">
                  <c:v>0.91</c:v>
                </c:pt>
                <c:pt idx="4">
                  <c:v>0.28999999999999998</c:v>
                </c:pt>
                <c:pt idx="5">
                  <c:v>0.89</c:v>
                </c:pt>
                <c:pt idx="6">
                  <c:v>0.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0713984"/>
        <c:axId val="96593600"/>
      </c:barChart>
      <c:catAx>
        <c:axId val="14071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a-IR"/>
          </a:p>
        </c:txPr>
        <c:crossAx val="96593600"/>
        <c:crosses val="autoZero"/>
        <c:auto val="1"/>
        <c:lblAlgn val="ctr"/>
        <c:lblOffset val="100"/>
        <c:noMultiLvlLbl val="0"/>
      </c:catAx>
      <c:valAx>
        <c:axId val="9659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a-IR"/>
          </a:p>
        </c:txPr>
        <c:crossAx val="140713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a-I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aseline="0"/>
      </a:pPr>
      <a:endParaRPr lang="fa-I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a-I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overnment Employee Pensions and Debt</a:t>
            </a:r>
            <a:br>
              <a:rPr lang="en-US"/>
            </a:br>
            <a:r>
              <a:rPr lang="en-US" sz="1200"/>
              <a:t>Source: 2013 financial statements</a:t>
            </a:r>
            <a:endParaRPr lang="nl-NL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G$17</c:f>
              <c:strCache>
                <c:ptCount val="1"/>
                <c:pt idx="0">
                  <c:v>Pensions/GD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H$16:$N$16</c:f>
              <c:strCache>
                <c:ptCount val="7"/>
                <c:pt idx="0">
                  <c:v>Austria</c:v>
                </c:pt>
                <c:pt idx="1">
                  <c:v>France</c:v>
                </c:pt>
                <c:pt idx="2">
                  <c:v>Ireland</c:v>
                </c:pt>
                <c:pt idx="3">
                  <c:v>UK</c:v>
                </c:pt>
                <c:pt idx="4">
                  <c:v>Australia</c:v>
                </c:pt>
                <c:pt idx="5">
                  <c:v>Canada</c:v>
                </c:pt>
                <c:pt idx="6">
                  <c:v>NZ</c:v>
                </c:pt>
              </c:strCache>
            </c:strRef>
          </c:cat>
          <c:val>
            <c:numRef>
              <c:f>Sheet1!$H$17:$N$17</c:f>
              <c:numCache>
                <c:formatCode>0%</c:formatCode>
                <c:ptCount val="7"/>
                <c:pt idx="0">
                  <c:v>1.0900000000000001</c:v>
                </c:pt>
                <c:pt idx="1">
                  <c:v>0.73</c:v>
                </c:pt>
                <c:pt idx="2">
                  <c:v>0.71</c:v>
                </c:pt>
                <c:pt idx="3">
                  <c:v>0.65</c:v>
                </c:pt>
                <c:pt idx="4">
                  <c:v>0.12</c:v>
                </c:pt>
                <c:pt idx="5">
                  <c:v>0.1</c:v>
                </c:pt>
                <c:pt idx="6">
                  <c:v>0.06</c:v>
                </c:pt>
              </c:numCache>
            </c:numRef>
          </c:val>
        </c:ser>
        <c:ser>
          <c:idx val="1"/>
          <c:order val="1"/>
          <c:tx>
            <c:strRef>
              <c:f>Sheet1!$G$18</c:f>
              <c:strCache>
                <c:ptCount val="1"/>
                <c:pt idx="0">
                  <c:v>Debt/GD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H$16:$N$16</c:f>
              <c:strCache>
                <c:ptCount val="7"/>
                <c:pt idx="0">
                  <c:v>Austria</c:v>
                </c:pt>
                <c:pt idx="1">
                  <c:v>France</c:v>
                </c:pt>
                <c:pt idx="2">
                  <c:v>Ireland</c:v>
                </c:pt>
                <c:pt idx="3">
                  <c:v>UK</c:v>
                </c:pt>
                <c:pt idx="4">
                  <c:v>Australia</c:v>
                </c:pt>
                <c:pt idx="5">
                  <c:v>Canada</c:v>
                </c:pt>
                <c:pt idx="6">
                  <c:v>NZ</c:v>
                </c:pt>
              </c:strCache>
            </c:strRef>
          </c:cat>
          <c:val>
            <c:numRef>
              <c:f>Sheet1!$H$18:$N$18</c:f>
              <c:numCache>
                <c:formatCode>0%</c:formatCode>
                <c:ptCount val="7"/>
                <c:pt idx="0">
                  <c:v>0.75</c:v>
                </c:pt>
                <c:pt idx="1">
                  <c:v>0.94</c:v>
                </c:pt>
                <c:pt idx="2">
                  <c:v>1.24</c:v>
                </c:pt>
                <c:pt idx="3">
                  <c:v>0.91</c:v>
                </c:pt>
                <c:pt idx="4">
                  <c:v>0.28999999999999998</c:v>
                </c:pt>
                <c:pt idx="5">
                  <c:v>0.89</c:v>
                </c:pt>
                <c:pt idx="6">
                  <c:v>0.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215040"/>
        <c:axId val="149125312"/>
      </c:barChart>
      <c:catAx>
        <c:axId val="176215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a-IR"/>
          </a:p>
        </c:txPr>
        <c:crossAx val="149125312"/>
        <c:crosses val="autoZero"/>
        <c:auto val="1"/>
        <c:lblAlgn val="ctr"/>
        <c:lblOffset val="100"/>
        <c:noMultiLvlLbl val="0"/>
      </c:catAx>
      <c:valAx>
        <c:axId val="149125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a-IR"/>
          </a:p>
        </c:txPr>
        <c:crossAx val="176215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a-I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aseline="0"/>
      </a:pPr>
      <a:endParaRPr lang="fa-I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E6751B1-B0DF-4899-A66D-5C094224D743}" type="slidenum">
              <a:rPr lang="en-GB" altLang="en-GB"/>
              <a:pPr>
                <a:defRPr/>
              </a:pPr>
              <a:t>‹#›</a:t>
            </a:fld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713894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6425"/>
            <a:ext cx="50292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noProof="0" smtClean="0"/>
              <a:t>Click to edit Master text styles</a:t>
            </a:r>
          </a:p>
          <a:p>
            <a:pPr lvl="1"/>
            <a:r>
              <a:rPr lang="en-GB" altLang="en-GB" noProof="0" smtClean="0"/>
              <a:t>Second level</a:t>
            </a:r>
          </a:p>
          <a:p>
            <a:pPr lvl="2"/>
            <a:r>
              <a:rPr lang="en-GB" altLang="en-GB" noProof="0" smtClean="0"/>
              <a:t>Third level</a:t>
            </a:r>
          </a:p>
          <a:p>
            <a:pPr lvl="3"/>
            <a:r>
              <a:rPr lang="en-GB" altLang="en-GB" noProof="0" smtClean="0"/>
              <a:t>Fourth level</a:t>
            </a:r>
          </a:p>
          <a:p>
            <a:pPr lvl="4"/>
            <a:r>
              <a:rPr lang="en-GB" altLang="en-GB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 altLang="en-GB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6" tIns="45750" rIns="91496" bIns="457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Aft>
                <a:spcPct val="0"/>
              </a:spcAft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2F91A1C-F159-4F39-8741-C99AFFD08C15}" type="slidenum">
              <a:rPr lang="en-GB" altLang="en-GB"/>
              <a:pPr>
                <a:defRPr/>
              </a:pPr>
              <a:t>‹#›</a:t>
            </a:fld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3403652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buChar char="•"/>
      <a:defRPr sz="2000" kern="1200">
        <a:solidFill>
          <a:srgbClr val="0C2678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buChar char="•"/>
      <a:defRPr sz="2000" kern="1200">
        <a:solidFill>
          <a:srgbClr val="0C2678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buChar char="•"/>
      <a:defRPr sz="2000" kern="1200">
        <a:solidFill>
          <a:srgbClr val="0C2678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buChar char="•"/>
      <a:defRPr sz="2000" kern="1200">
        <a:solidFill>
          <a:srgbClr val="0C2678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buChar char="•"/>
      <a:defRPr sz="2000" kern="1200">
        <a:solidFill>
          <a:srgbClr val="0C2678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0250" y="4470400"/>
            <a:ext cx="5680075" cy="4229100"/>
          </a:xfrm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074245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B7D8C31A-9F8A-4B91-9274-269F4896B97C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6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9850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C237456-0DAD-44D2-A8E0-E8AB42520640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9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6717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C237456-0DAD-44D2-A8E0-E8AB42520640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0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6717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C237456-0DAD-44D2-A8E0-E8AB42520640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1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6559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C237456-0DAD-44D2-A8E0-E8AB42520640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2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6559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496FE9D9-F106-4C8B-9370-4C54937A640E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3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819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496FE9D9-F106-4C8B-9370-4C54937A640E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4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8195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EC421441-81F2-47AD-924B-50CB65A61E31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5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691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EC421441-81F2-47AD-924B-50CB65A61E31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6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6916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F91A1C-F159-4F39-8741-C99AFFD08C15}" type="slidenum">
              <a:rPr lang="en-GB" altLang="en-GB" smtClean="0"/>
              <a:pPr>
                <a:defRPr/>
              </a:pPr>
              <a:t>31</a:t>
            </a:fld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163323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0250" y="4470400"/>
            <a:ext cx="5680075" cy="4229100"/>
          </a:xfrm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0742455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F91A1C-F159-4F39-8741-C99AFFD08C15}" type="slidenum">
              <a:rPr lang="en-GB" altLang="en-GB" smtClean="0"/>
              <a:pPr>
                <a:defRPr/>
              </a:pPr>
              <a:t>32</a:t>
            </a:fld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1633234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725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7252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9591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9591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98481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9848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1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79602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2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7960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3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82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9602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4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822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5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0332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6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03321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096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0964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59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6226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371BB22-3C15-46D7-AC24-502CB04B4DE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0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6226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930086D6-E849-47EF-A279-9BAB874AEC7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3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4331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930086D6-E849-47EF-A279-9BAB874AEC7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4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4331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930086D6-E849-47EF-A279-9BAB874AEC7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5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037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96023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930086D6-E849-47EF-A279-9BAB874AEC7B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6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03758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773ECC8-C60D-435A-83BB-C30E26EE1D3F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7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3257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773ECC8-C60D-435A-83BB-C30E26EE1D3F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8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3257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773ECC8-C60D-435A-83BB-C30E26EE1D3F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69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4925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773ECC8-C60D-435A-83BB-C30E26EE1D3F}" type="slidenum">
              <a:rPr lang="en-GB" altLang="en-GB" sz="1200">
                <a:solidFill>
                  <a:srgbClr val="FFFFFF"/>
                </a:solidFill>
              </a:rPr>
              <a:pPr eaLnBrk="1" hangingPunct="1"/>
              <a:t>70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49255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85753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85753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73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7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75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1C8761EA-8BEF-49B6-AED4-14368E9B0192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1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4744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87087-C0CC-41C5-BD26-C524F9D12F3A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7520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8875" y="692150"/>
            <a:ext cx="4618038" cy="3462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r>
              <a:rPr lang="nl-NL" smtClean="0"/>
              <a:t>Source: respective financial statements </a:t>
            </a:r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alt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5EB68-932C-4B4A-94F5-6164E2530039}" type="slidenum">
              <a:rPr lang="en-GB" altLang="en-GB" smtClean="0">
                <a:solidFill>
                  <a:prstClr val="black"/>
                </a:solidFill>
              </a:rPr>
              <a:pPr/>
              <a:t>95</a:t>
            </a:fld>
            <a:endParaRPr lang="en-GB" alt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13262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8875" y="692150"/>
            <a:ext cx="4618038" cy="3462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endParaRPr lang="nl-NL" smtClean="0"/>
          </a:p>
          <a:p>
            <a:pPr marL="285750" lvl="0" indent="-285750">
              <a:buFont typeface="Arial" pitchFamily="34" charset="0"/>
              <a:buChar char="•"/>
            </a:pPr>
            <a:endParaRPr lang="nl-NL"/>
          </a:p>
          <a:p>
            <a:pPr marL="285750" lvl="0" indent="-285750">
              <a:buFont typeface="Arial" pitchFamily="34" charset="0"/>
              <a:buChar char="•"/>
            </a:pPr>
            <a:r>
              <a:rPr lang="nl-NL" smtClean="0"/>
              <a:t>Source: respective financial statements </a:t>
            </a:r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alt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5EB68-932C-4B4A-94F5-6164E2530039}" type="slidenum">
              <a:rPr lang="en-GB" altLang="en-GB" smtClean="0">
                <a:solidFill>
                  <a:prstClr val="black"/>
                </a:solidFill>
              </a:rPr>
              <a:pPr/>
              <a:t>96</a:t>
            </a:fld>
            <a:endParaRPr lang="en-GB" alt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132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1C8761EA-8BEF-49B6-AED4-14368E9B0192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2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47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E26CA51-8301-4C5A-BC23-CE3DF79D16ED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3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473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5E26CA51-8301-4C5A-BC23-CE3DF79D16ED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4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473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6" tIns="45750" rIns="91496" bIns="45750" anchor="b"/>
          <a:lstStyle>
            <a:lvl1pPr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2000">
                <a:solidFill>
                  <a:srgbClr val="0C2678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B7D8C31A-9F8A-4B91-9274-269F4896B97C}" type="slidenum">
              <a:rPr lang="nl-NL" altLang="en-US" sz="12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5</a:t>
            </a:fld>
            <a:endParaRPr lang="nl-NL" altLang="en-US" sz="120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985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106738" y="6519863"/>
            <a:ext cx="56578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endParaRPr lang="nl-NL" sz="800" smtClean="0"/>
          </a:p>
        </p:txBody>
      </p:sp>
      <p:sp>
        <p:nvSpPr>
          <p:cNvPr id="409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7188" y="1973263"/>
            <a:ext cx="8383587" cy="1346200"/>
          </a:xfrm>
        </p:spPr>
        <p:txBody>
          <a:bodyPr/>
          <a:lstStyle>
            <a:lvl1pPr>
              <a:lnSpc>
                <a:spcPts val="5300"/>
              </a:lnSpc>
              <a:defRPr sz="65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1000" y="3594100"/>
            <a:ext cx="5399088" cy="254000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8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4318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6023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369525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583671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8197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358775"/>
            <a:ext cx="2098675" cy="5957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58775"/>
            <a:ext cx="6143625" cy="5957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31493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213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40"/>
              </a:lnSpc>
              <a:defRPr sz="344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4" y="6533096"/>
            <a:ext cx="2828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C400DE4-7639-4A9D-90C2-D3477B34BB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0538" y="6533096"/>
            <a:ext cx="43173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998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471" y="1190382"/>
            <a:ext cx="8422522" cy="49627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81009-8919-4DEB-A5B1-63465220DC0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395399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6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0" y="4407217"/>
            <a:ext cx="7771751" cy="1361237"/>
          </a:xfrm>
        </p:spPr>
        <p:txBody>
          <a:bodyPr/>
          <a:lstStyle>
            <a:lvl1pPr algn="l">
              <a:defRPr sz="264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0" y="2907334"/>
            <a:ext cx="7771751" cy="1499881"/>
          </a:xfrm>
        </p:spPr>
        <p:txBody>
          <a:bodyPr anchor="b"/>
          <a:lstStyle>
            <a:lvl1pPr marL="0" indent="0">
              <a:buNone/>
              <a:defRPr sz="1323"/>
            </a:lvl1pPr>
            <a:lvl2pPr marL="302167" indent="0">
              <a:buNone/>
              <a:defRPr sz="1191"/>
            </a:lvl2pPr>
            <a:lvl3pPr marL="604337" indent="0">
              <a:buNone/>
              <a:defRPr sz="1059"/>
            </a:lvl3pPr>
            <a:lvl4pPr marL="906502" indent="0">
              <a:buNone/>
              <a:defRPr sz="926"/>
            </a:lvl4pPr>
            <a:lvl5pPr marL="1208668" indent="0">
              <a:buNone/>
              <a:defRPr sz="926"/>
            </a:lvl5pPr>
            <a:lvl6pPr marL="1510835" indent="0">
              <a:buNone/>
              <a:defRPr sz="926"/>
            </a:lvl6pPr>
            <a:lvl7pPr marL="1813004" indent="0">
              <a:buNone/>
              <a:defRPr sz="926"/>
            </a:lvl7pPr>
            <a:lvl8pPr marL="2115170" indent="0">
              <a:buNone/>
              <a:defRPr sz="926"/>
            </a:lvl8pPr>
            <a:lvl9pPr marL="2417336" indent="0">
              <a:buNone/>
              <a:defRPr sz="92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3C3D5-40A2-4779-93EB-AB7B6099865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510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2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F49C1-7FF6-41C0-9A62-4C64EF2B7F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437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6"/>
            <a:ext cx="8229167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6"/>
            <a:ext cx="4040271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6"/>
            <a:ext cx="4041714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72F76-F88C-47AA-8431-A0D942FAA2D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r>
              <a:rPr lang="en-US" sz="596" smtClean="0">
                <a:solidFill>
                  <a:srgbClr val="002776"/>
                </a:solidFill>
                <a:latin typeface="Arial" charset="0"/>
                <a:cs typeface="Arial" charset="0"/>
              </a:rPr>
              <a:t> </a:t>
            </a:r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353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358775"/>
            <a:ext cx="2098675" cy="5957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58775"/>
            <a:ext cx="6143625" cy="5957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5566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1BEA7-AB41-4B68-8803-0FA090A34773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442068" y="6376349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400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C4996-2872-4283-898C-2736B187459F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57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6"/>
            <a:ext cx="3008559" cy="1162373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1"/>
            <a:ext cx="5110943" cy="5852477"/>
          </a:xfrm>
        </p:spPr>
        <p:txBody>
          <a:bodyPr/>
          <a:lstStyle>
            <a:lvl1pPr>
              <a:defRPr sz="2117"/>
            </a:lvl1pPr>
            <a:lvl2pPr>
              <a:defRPr sz="1852"/>
            </a:lvl2pPr>
            <a:lvl3pPr>
              <a:defRPr sz="1655"/>
            </a:lvl3pPr>
            <a:lvl4pPr>
              <a:defRPr sz="1323"/>
            </a:lvl4pPr>
            <a:lvl5pPr>
              <a:defRPr sz="1323"/>
            </a:lvl5pPr>
            <a:lvl6pPr>
              <a:defRPr sz="1323"/>
            </a:lvl6pPr>
            <a:lvl7pPr>
              <a:defRPr sz="1323"/>
            </a:lvl7pPr>
            <a:lvl8pPr>
              <a:defRPr sz="1323"/>
            </a:lvl8pPr>
            <a:lvl9pPr>
              <a:defRPr sz="132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993C0-0176-4B49-8269-113EEC2866B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51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117"/>
            </a:lvl1pPr>
            <a:lvl2pPr marL="302167" indent="0">
              <a:buNone/>
              <a:defRPr sz="1852"/>
            </a:lvl2pPr>
            <a:lvl3pPr marL="604337" indent="0">
              <a:buNone/>
              <a:defRPr sz="1655"/>
            </a:lvl3pPr>
            <a:lvl4pPr marL="906502" indent="0">
              <a:buNone/>
              <a:defRPr sz="1323"/>
            </a:lvl4pPr>
            <a:lvl5pPr marL="1208668" indent="0">
              <a:buNone/>
              <a:defRPr sz="1323"/>
            </a:lvl5pPr>
            <a:lvl6pPr marL="1510835" indent="0">
              <a:buNone/>
              <a:defRPr sz="1323"/>
            </a:lvl6pPr>
            <a:lvl7pPr marL="1813004" indent="0">
              <a:buNone/>
              <a:defRPr sz="1323"/>
            </a:lvl7pPr>
            <a:lvl8pPr marL="2115170" indent="0">
              <a:buNone/>
              <a:defRPr sz="1323"/>
            </a:lvl8pPr>
            <a:lvl9pPr marL="2417336" indent="0">
              <a:buNone/>
              <a:defRPr sz="1323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7E21-B0DC-43BF-A0DD-92A67AEB084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453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470EB-2FE0-4940-8697-C9F4D0DA04CA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223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70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4D62B-1CC2-4DE6-AC2E-5BDF3CAE342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987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0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8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991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07990" y="6550027"/>
            <a:ext cx="282575" cy="142875"/>
          </a:xfr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3268" y="6550032"/>
            <a:ext cx="6395811" cy="81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530" baseline="0"/>
            </a:lvl1pPr>
          </a:lstStyle>
          <a:p>
            <a:pPr lvl="0"/>
            <a:r>
              <a:rPr lang="en-US" noProof="0" dirty="0" smtClean="0"/>
              <a:t>Note: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2720380" y="6575427"/>
            <a:ext cx="2643013" cy="2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7301" tIns="33650" rIns="67301" bIns="33650">
            <a:spAutoFit/>
          </a:bodyPr>
          <a:lstStyle/>
          <a:p>
            <a:pPr eaLnBrk="1" hangingPunct="1">
              <a:defRPr/>
            </a:pPr>
            <a:r>
              <a:rPr lang="en-CA" sz="860" dirty="0" smtClean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  <a:endParaRPr lang="en-CA" sz="860" dirty="0">
              <a:solidFill>
                <a:srgbClr val="FFFFFF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148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1142827" y="2886328"/>
            <a:ext cx="3996983" cy="1128762"/>
          </a:xfrm>
        </p:spPr>
        <p:txBody>
          <a:bodyPr/>
          <a:lstStyle>
            <a:lvl1pPr>
              <a:lnSpc>
                <a:spcPts val="1850"/>
              </a:lnSpc>
              <a:defRPr sz="1852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4" y="6028943"/>
            <a:ext cx="4740104" cy="303897"/>
          </a:xfrm>
        </p:spPr>
        <p:txBody>
          <a:bodyPr/>
          <a:lstStyle>
            <a:lvl1pPr marL="0" indent="0">
              <a:lnSpc>
                <a:spcPts val="1470"/>
              </a:lnSpc>
              <a:defRPr b="1" smtClean="0"/>
            </a:lvl1pPr>
          </a:lstStyle>
          <a:p>
            <a:r>
              <a:rPr smtClean="0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926901" y="6495586"/>
            <a:ext cx="1939331" cy="26462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eaLnBrk="1" hangingPunct="1"/>
            <a:endParaRPr lang="en-US" sz="132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848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102350"/>
            <a:ext cx="2133601" cy="476250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/>
            </a:lvl1pPr>
          </a:lstStyle>
          <a:p>
            <a:pPr eaLnBrk="1" hangingPunct="1">
              <a:defRPr/>
            </a:pPr>
            <a:endParaRPr lang="en-US" sz="132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2678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D4138-F0CA-4A87-95AC-EBCF27F391FB}" type="slidenum">
              <a:rPr lang="en-US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C2678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0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40738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997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kst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736" y="347325"/>
            <a:ext cx="8295054" cy="282129"/>
          </a:xfrm>
        </p:spPr>
        <p:txBody>
          <a:bodyPr>
            <a:sp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B648516-5F7D-43D2-B762-2E54FF15350B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407734" y="1204391"/>
            <a:ext cx="6029286" cy="662041"/>
          </a:xfrm>
        </p:spPr>
        <p:txBody>
          <a:bodyPr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 marL="87142" indent="-87142"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Times New Roman" pitchFamily="18" charset="0"/>
                <a:cs typeface="Times New Roman" pitchFamily="18" charset="0"/>
              </a:defRPr>
            </a:lvl4pPr>
            <a:lvl5pPr>
              <a:defRPr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2926674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40"/>
              </a:lnSpc>
              <a:defRPr sz="344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4" y="6533096"/>
            <a:ext cx="2828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C400DE4-7639-4A9D-90C2-D3477B34BB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0538" y="6533096"/>
            <a:ext cx="43173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907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81009-8919-4DEB-A5B1-63465220DC0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395399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657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0" y="4407217"/>
            <a:ext cx="7771751" cy="1361237"/>
          </a:xfrm>
        </p:spPr>
        <p:txBody>
          <a:bodyPr/>
          <a:lstStyle>
            <a:lvl1pPr algn="l">
              <a:defRPr sz="264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0" y="2907334"/>
            <a:ext cx="7771751" cy="1499881"/>
          </a:xfrm>
        </p:spPr>
        <p:txBody>
          <a:bodyPr anchor="b"/>
          <a:lstStyle>
            <a:lvl1pPr marL="0" indent="0">
              <a:buNone/>
              <a:defRPr sz="1323"/>
            </a:lvl1pPr>
            <a:lvl2pPr marL="302167" indent="0">
              <a:buNone/>
              <a:defRPr sz="1191"/>
            </a:lvl2pPr>
            <a:lvl3pPr marL="604337" indent="0">
              <a:buNone/>
              <a:defRPr sz="1059"/>
            </a:lvl3pPr>
            <a:lvl4pPr marL="906502" indent="0">
              <a:buNone/>
              <a:defRPr sz="926"/>
            </a:lvl4pPr>
            <a:lvl5pPr marL="1208668" indent="0">
              <a:buNone/>
              <a:defRPr sz="926"/>
            </a:lvl5pPr>
            <a:lvl6pPr marL="1510835" indent="0">
              <a:buNone/>
              <a:defRPr sz="926"/>
            </a:lvl6pPr>
            <a:lvl7pPr marL="1813004" indent="0">
              <a:buNone/>
              <a:defRPr sz="926"/>
            </a:lvl7pPr>
            <a:lvl8pPr marL="2115170" indent="0">
              <a:buNone/>
              <a:defRPr sz="926"/>
            </a:lvl8pPr>
            <a:lvl9pPr marL="2417336" indent="0">
              <a:buNone/>
              <a:defRPr sz="92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3C3D5-40A2-4779-93EB-AB7B6099865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292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2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F49C1-7FF6-41C0-9A62-4C64EF2B7F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187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6"/>
            <a:ext cx="8229167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6"/>
            <a:ext cx="4040271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6"/>
            <a:ext cx="4041714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72F76-F88C-47AA-8431-A0D942FAA2D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r>
              <a:rPr lang="en-US" sz="596" smtClean="0">
                <a:solidFill>
                  <a:srgbClr val="002776"/>
                </a:solidFill>
                <a:latin typeface="Arial" charset="0"/>
                <a:cs typeface="Arial" charset="0"/>
              </a:rPr>
              <a:t> </a:t>
            </a:r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574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1BEA7-AB41-4B68-8803-0FA090A34773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442068" y="63668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730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C4996-2872-4283-898C-2736B187459F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454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6"/>
            <a:ext cx="3008559" cy="1162373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1"/>
            <a:ext cx="5110943" cy="5852477"/>
          </a:xfrm>
        </p:spPr>
        <p:txBody>
          <a:bodyPr/>
          <a:lstStyle>
            <a:lvl1pPr>
              <a:defRPr sz="2117"/>
            </a:lvl1pPr>
            <a:lvl2pPr>
              <a:defRPr sz="1852"/>
            </a:lvl2pPr>
            <a:lvl3pPr>
              <a:defRPr sz="1655"/>
            </a:lvl3pPr>
            <a:lvl4pPr>
              <a:defRPr sz="1323"/>
            </a:lvl4pPr>
            <a:lvl5pPr>
              <a:defRPr sz="1323"/>
            </a:lvl5pPr>
            <a:lvl6pPr>
              <a:defRPr sz="1323"/>
            </a:lvl6pPr>
            <a:lvl7pPr>
              <a:defRPr sz="1323"/>
            </a:lvl7pPr>
            <a:lvl8pPr>
              <a:defRPr sz="1323"/>
            </a:lvl8pPr>
            <a:lvl9pPr>
              <a:defRPr sz="132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993C0-0176-4B49-8269-113EEC2866B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462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117"/>
            </a:lvl1pPr>
            <a:lvl2pPr marL="302167" indent="0">
              <a:buNone/>
              <a:defRPr sz="1852"/>
            </a:lvl2pPr>
            <a:lvl3pPr marL="604337" indent="0">
              <a:buNone/>
              <a:defRPr sz="1655"/>
            </a:lvl3pPr>
            <a:lvl4pPr marL="906502" indent="0">
              <a:buNone/>
              <a:defRPr sz="1323"/>
            </a:lvl4pPr>
            <a:lvl5pPr marL="1208668" indent="0">
              <a:buNone/>
              <a:defRPr sz="1323"/>
            </a:lvl5pPr>
            <a:lvl6pPr marL="1510835" indent="0">
              <a:buNone/>
              <a:defRPr sz="1323"/>
            </a:lvl6pPr>
            <a:lvl7pPr marL="1813004" indent="0">
              <a:buNone/>
              <a:defRPr sz="1323"/>
            </a:lvl7pPr>
            <a:lvl8pPr marL="2115170" indent="0">
              <a:buNone/>
              <a:defRPr sz="1323"/>
            </a:lvl8pPr>
            <a:lvl9pPr marL="2417336" indent="0">
              <a:buNone/>
              <a:defRPr sz="1323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7E21-B0DC-43BF-A0DD-92A67AEB084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38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99"/>
              </a:lnSpc>
              <a:defRPr sz="3525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1" y="6533096"/>
            <a:ext cx="282819" cy="158250"/>
          </a:xfrm>
        </p:spPr>
        <p:txBody>
          <a:bodyPr/>
          <a:lstStyle>
            <a:lvl1pPr>
              <a:lnSpc>
                <a:spcPts val="900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10EE7D6B-EFB3-44B2-B69D-BF6008EAE6D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4349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470EB-2FE0-4940-8697-C9F4D0DA04CA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23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70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4D62B-1CC2-4DE6-AC2E-5BDF3CAE342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8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0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8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991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07990" y="6550027"/>
            <a:ext cx="282575" cy="142875"/>
          </a:xfr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3268" y="6550032"/>
            <a:ext cx="6395811" cy="81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530" baseline="0"/>
            </a:lvl1pPr>
          </a:lstStyle>
          <a:p>
            <a:pPr lvl="0"/>
            <a:r>
              <a:rPr lang="en-US" noProof="0" dirty="0" smtClean="0"/>
              <a:t>Note: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2720380" y="6575427"/>
            <a:ext cx="2643013" cy="2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7301" tIns="33650" rIns="67301" bIns="33650">
            <a:spAutoFit/>
          </a:bodyPr>
          <a:lstStyle/>
          <a:p>
            <a:pPr eaLnBrk="1" hangingPunct="1">
              <a:defRPr/>
            </a:pPr>
            <a:r>
              <a:rPr lang="en-CA" sz="860" dirty="0" smtClean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  <a:endParaRPr lang="en-CA" sz="860" dirty="0">
              <a:solidFill>
                <a:srgbClr val="FFFFFF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740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1142827" y="2886328"/>
            <a:ext cx="3996983" cy="1128762"/>
          </a:xfrm>
        </p:spPr>
        <p:txBody>
          <a:bodyPr/>
          <a:lstStyle>
            <a:lvl1pPr>
              <a:lnSpc>
                <a:spcPts val="1850"/>
              </a:lnSpc>
              <a:defRPr sz="1852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4" y="6028943"/>
            <a:ext cx="4740104" cy="303897"/>
          </a:xfrm>
        </p:spPr>
        <p:txBody>
          <a:bodyPr/>
          <a:lstStyle>
            <a:lvl1pPr marL="0" indent="0">
              <a:lnSpc>
                <a:spcPts val="1470"/>
              </a:lnSpc>
              <a:defRPr b="1" smtClean="0"/>
            </a:lvl1pPr>
          </a:lstStyle>
          <a:p>
            <a:r>
              <a:rPr smtClean="0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926901" y="6495586"/>
            <a:ext cx="1939331" cy="26462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eaLnBrk="1" hangingPunct="1"/>
            <a:endParaRPr lang="en-US" sz="132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1997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102350"/>
            <a:ext cx="2133601" cy="476250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/>
            </a:lvl1pPr>
          </a:lstStyle>
          <a:p>
            <a:pPr eaLnBrk="1" hangingPunct="1">
              <a:defRPr/>
            </a:pPr>
            <a:endParaRPr lang="en-US" sz="132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2678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D4138-F0CA-4A87-95AC-EBCF27F391FB}" type="slidenum">
              <a:rPr lang="en-US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C2678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970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1881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kst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736" y="347325"/>
            <a:ext cx="8295054" cy="282129"/>
          </a:xfrm>
        </p:spPr>
        <p:txBody>
          <a:bodyPr>
            <a:sp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B648516-5F7D-43D2-B762-2E54FF15350B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407734" y="1204391"/>
            <a:ext cx="6029286" cy="662041"/>
          </a:xfrm>
        </p:spPr>
        <p:txBody>
          <a:bodyPr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 marL="87142" indent="-87142"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Times New Roman" pitchFamily="18" charset="0"/>
                <a:cs typeface="Times New Roman" pitchFamily="18" charset="0"/>
              </a:defRPr>
            </a:lvl4pPr>
            <a:lvl5pPr>
              <a:defRPr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5141289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106738" y="6519863"/>
            <a:ext cx="56578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endParaRPr lang="nl-NL" sz="800" smtClean="0">
              <a:solidFill>
                <a:srgbClr val="0C2678"/>
              </a:solidFill>
              <a:latin typeface="Verdana" pitchFamily="34" charset="0"/>
            </a:endParaRPr>
          </a:p>
        </p:txBody>
      </p:sp>
      <p:sp>
        <p:nvSpPr>
          <p:cNvPr id="409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7188" y="1973263"/>
            <a:ext cx="8383587" cy="1346200"/>
          </a:xfrm>
        </p:spPr>
        <p:txBody>
          <a:bodyPr/>
          <a:lstStyle>
            <a:lvl1pPr>
              <a:lnSpc>
                <a:spcPts val="5300"/>
              </a:lnSpc>
              <a:defRPr sz="65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1000" y="3594100"/>
            <a:ext cx="5399088" cy="254000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800"/>
            </a:lvl1pPr>
          </a:lstStyle>
          <a:p>
            <a:r>
              <a:rPr lang="en-GB" alt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983373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5A99E-1640-4EDC-A47B-98C8365F1B61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38272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EE2453-8989-4966-B29E-EFE83CCEED42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1507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053484-11FB-439C-B716-CDD4825320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29723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C029FF-CD47-4F0F-B91C-070F252266E3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875132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BF315E-D293-4392-B0CB-6F3B68A6ABE7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398540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9FFC35-EAC3-4090-A755-325749161D1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07949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72DD8C-03F1-4D06-B129-56BCF07A9512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802786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5F94BF-408D-429E-B9E2-F35DA979CA18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064372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FBAAEF-7663-459C-9630-2CBA2601A054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1923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D7BB86-CE02-4028-B7BA-61343DE25B5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  <p:sp>
        <p:nvSpPr>
          <p:cNvPr id="6" name="Rectangle 10"/>
          <p:cNvSpPr txBox="1">
            <a:spLocks noChangeArrowheads="1"/>
          </p:cNvSpPr>
          <p:nvPr userDrawn="1"/>
        </p:nvSpPr>
        <p:spPr bwMode="auto">
          <a:xfrm>
            <a:off x="8337550" y="6664325"/>
            <a:ext cx="79216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38554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358775"/>
            <a:ext cx="2098675" cy="5957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58775"/>
            <a:ext cx="6143625" cy="5957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012860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0" y="1612900"/>
            <a:ext cx="9144000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>
              <a:solidFill>
                <a:srgbClr val="0000FF"/>
              </a:solidFill>
              <a:latin typeface="Arial" charset="0"/>
            </a:endParaRPr>
          </a:p>
        </p:txBody>
      </p:sp>
      <p:pic>
        <p:nvPicPr>
          <p:cNvPr id="5" name="Picture 9" descr="webpi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6175" y="5561013"/>
            <a:ext cx="1752600" cy="1176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8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600200"/>
            <a:ext cx="7772400" cy="14700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8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505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CC6600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2A69CB-7A2B-4F73-B614-03BF3FB891D6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65063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5D8387-0F24-42D8-A427-AE1D65F6E9A5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8D7474-6F78-4654-92AD-7B2A27B66AE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494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2" y="4407218"/>
            <a:ext cx="7771750" cy="1361237"/>
          </a:xfrm>
        </p:spPr>
        <p:txBody>
          <a:bodyPr/>
          <a:lstStyle>
            <a:lvl1pPr algn="l">
              <a:defRPr sz="27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2" y="2907335"/>
            <a:ext cx="7771750" cy="1499881"/>
          </a:xfrm>
        </p:spPr>
        <p:txBody>
          <a:bodyPr anchor="b"/>
          <a:lstStyle>
            <a:lvl1pPr marL="0" indent="0">
              <a:buNone/>
              <a:defRPr sz="1350"/>
            </a:lvl1pPr>
            <a:lvl2pPr marL="307305" indent="0">
              <a:buNone/>
              <a:defRPr sz="1200"/>
            </a:lvl2pPr>
            <a:lvl3pPr marL="614612" indent="0">
              <a:buNone/>
              <a:defRPr sz="1050"/>
            </a:lvl3pPr>
            <a:lvl4pPr marL="921915" indent="0">
              <a:buNone/>
              <a:defRPr sz="975"/>
            </a:lvl4pPr>
            <a:lvl5pPr marL="1229219" indent="0">
              <a:buNone/>
              <a:defRPr sz="975"/>
            </a:lvl5pPr>
            <a:lvl6pPr marL="1536524" indent="0">
              <a:buNone/>
              <a:defRPr sz="975"/>
            </a:lvl6pPr>
            <a:lvl7pPr marL="1843830" indent="0">
              <a:buNone/>
              <a:defRPr sz="975"/>
            </a:lvl7pPr>
            <a:lvl8pPr marL="2151134" indent="0">
              <a:buNone/>
              <a:defRPr sz="975"/>
            </a:lvl8pPr>
            <a:lvl9pPr marL="2458439" indent="0">
              <a:buNone/>
              <a:defRPr sz="9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A53451-03CB-4946-8382-221B7A4457E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74328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61DD08-7A60-4F12-84D0-74F65063F173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423078-A7F6-41AE-894A-E3A76732C16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20241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CE71DE-32F5-4A5B-B1EE-9159510F8A89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BD8EE1-AEF9-476D-8DBF-1CF14A2C9B7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6982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8A64D8-3FC0-48C4-BE4F-253C472E615A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5DA667-3F5E-4F91-B8A9-80D14AA4D0B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06483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B77C0B-53E6-4CE9-B135-59EA99946063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0167FAD-953A-42F9-A533-698ADA48DB3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05970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FE245-8EF5-4D2D-BC4C-9FE9F3BC40DF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0810C1E-12B0-4A09-B431-50FC531877A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01444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1BD72D-C8BD-4E94-969F-8390F8B7FF12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4E11D3-46B1-44D0-ACAC-056A383F814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4641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F78D1-A19F-491D-B956-6CED9A505030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05A8C5-1A6A-4032-9DF9-F5ADFF4D03F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29264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1D3DC8-2ADA-4F69-BF1B-D65DA765DA8E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CBBA0F-2EA8-4939-93AF-87A80E1F7D1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62768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76200"/>
            <a:ext cx="2057400" cy="6049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6200"/>
            <a:ext cx="6019800" cy="6049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90DEA-531A-49ED-890B-FDF77BEAFD06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E3A4D0-241D-401F-AC0B-33141531940E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72533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74676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9B224C-6B89-4DB3-8310-ECA3A85B6F3C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BCC45A-E9EB-420F-97B9-1F280E6604C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89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75"/>
            </a:lvl1pPr>
            <a:lvl2pPr>
              <a:defRPr sz="165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1" cy="5219474"/>
          </a:xfrm>
        </p:spPr>
        <p:txBody>
          <a:bodyPr/>
          <a:lstStyle>
            <a:lvl1pPr>
              <a:defRPr sz="1875"/>
            </a:lvl1pPr>
            <a:lvl2pPr>
              <a:defRPr sz="165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860B39-DDC0-4BCC-94DF-519F076F1C66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5402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76200"/>
            <a:ext cx="74676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371600"/>
            <a:ext cx="4038600" cy="2300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300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824288"/>
            <a:ext cx="4038600" cy="230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824288"/>
            <a:ext cx="4038600" cy="230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6417E-0507-4C5B-BE95-A4F31EA2412E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B70C28-45E6-4751-8C56-F5B1EEB9BA2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49716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76200"/>
            <a:ext cx="8229600" cy="6049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8CD10-DE5B-465E-8DFA-A45E677795B6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D1FD60-563B-40FB-AA4B-AF166A1C063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226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74676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754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754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6A39A63-71BC-44C2-AA86-711A20208079}" type="datetime1">
              <a:rPr lang="en-US">
                <a:solidFill>
                  <a:srgbClr val="000000"/>
                </a:solidFill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05600" y="63817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EB807F0-8EC9-4EB6-AF4B-C36D48005EC5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51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8" y="274497"/>
            <a:ext cx="8229166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0" b="1"/>
            </a:lvl1pPr>
            <a:lvl2pPr marL="307305" indent="0">
              <a:buNone/>
              <a:defRPr sz="1350" b="1"/>
            </a:lvl2pPr>
            <a:lvl3pPr marL="614612" indent="0">
              <a:buNone/>
              <a:defRPr sz="1200" b="1"/>
            </a:lvl3pPr>
            <a:lvl4pPr marL="921915" indent="0">
              <a:buNone/>
              <a:defRPr sz="1050" b="1"/>
            </a:lvl4pPr>
            <a:lvl5pPr marL="1229219" indent="0">
              <a:buNone/>
              <a:defRPr sz="1050" b="1"/>
            </a:lvl5pPr>
            <a:lvl6pPr marL="1536524" indent="0">
              <a:buNone/>
              <a:defRPr sz="1050" b="1"/>
            </a:lvl6pPr>
            <a:lvl7pPr marL="1843830" indent="0">
              <a:buNone/>
              <a:defRPr sz="1050" b="1"/>
            </a:lvl7pPr>
            <a:lvl8pPr marL="2151134" indent="0">
              <a:buNone/>
              <a:defRPr sz="1050" b="1"/>
            </a:lvl8pPr>
            <a:lvl9pPr marL="2458439" indent="0">
              <a:buNone/>
              <a:defRPr sz="10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7"/>
            <a:ext cx="4040271" cy="3950667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0" b="1"/>
            </a:lvl1pPr>
            <a:lvl2pPr marL="307305" indent="0">
              <a:buNone/>
              <a:defRPr sz="1350" b="1"/>
            </a:lvl2pPr>
            <a:lvl3pPr marL="614612" indent="0">
              <a:buNone/>
              <a:defRPr sz="1200" b="1"/>
            </a:lvl3pPr>
            <a:lvl4pPr marL="921915" indent="0">
              <a:buNone/>
              <a:defRPr sz="1050" b="1"/>
            </a:lvl4pPr>
            <a:lvl5pPr marL="1229219" indent="0">
              <a:buNone/>
              <a:defRPr sz="1050" b="1"/>
            </a:lvl5pPr>
            <a:lvl6pPr marL="1536524" indent="0">
              <a:buNone/>
              <a:defRPr sz="1050" b="1"/>
            </a:lvl6pPr>
            <a:lvl7pPr marL="1843830" indent="0">
              <a:buNone/>
              <a:defRPr sz="1050" b="1"/>
            </a:lvl7pPr>
            <a:lvl8pPr marL="2151134" indent="0">
              <a:buNone/>
              <a:defRPr sz="1050" b="1"/>
            </a:lvl8pPr>
            <a:lvl9pPr marL="2458439" indent="0">
              <a:buNone/>
              <a:defRPr sz="10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7"/>
            <a:ext cx="4041714" cy="3950667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11CE98-C872-46A6-A803-63AED43ACF18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7626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5665D5-D3C9-4DB9-9B8E-C6CE89D523E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09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B1DC4-4192-4476-B003-EA37BD13A9F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10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B328441-53AB-49F0-9010-BDEDDD18253A}" type="slidenum">
              <a:rPr lang="nl-NL" smtClean="0"/>
              <a:pPr>
                <a:defRPr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2550625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7"/>
            <a:ext cx="3008559" cy="1162373"/>
          </a:xfrm>
        </p:spPr>
        <p:txBody>
          <a:bodyPr anchor="b"/>
          <a:lstStyle>
            <a:lvl1pPr algn="l">
              <a:defRPr sz="13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9" y="273092"/>
            <a:ext cx="5110943" cy="5852477"/>
          </a:xfrm>
        </p:spPr>
        <p:txBody>
          <a:bodyPr/>
          <a:lstStyle>
            <a:lvl1pPr>
              <a:defRPr sz="2175"/>
            </a:lvl1pPr>
            <a:lvl2pPr>
              <a:defRPr sz="1875"/>
            </a:lvl2pPr>
            <a:lvl3pPr>
              <a:defRPr sz="16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75"/>
            </a:lvl1pPr>
            <a:lvl2pPr marL="307305" indent="0">
              <a:buNone/>
              <a:defRPr sz="825"/>
            </a:lvl2pPr>
            <a:lvl3pPr marL="614612" indent="0">
              <a:buNone/>
              <a:defRPr sz="675"/>
            </a:lvl3pPr>
            <a:lvl4pPr marL="921915" indent="0">
              <a:buNone/>
              <a:defRPr sz="600"/>
            </a:lvl4pPr>
            <a:lvl5pPr marL="1229219" indent="0">
              <a:buNone/>
              <a:defRPr sz="600"/>
            </a:lvl5pPr>
            <a:lvl6pPr marL="1536524" indent="0">
              <a:buNone/>
              <a:defRPr sz="600"/>
            </a:lvl6pPr>
            <a:lvl7pPr marL="1843830" indent="0">
              <a:buNone/>
              <a:defRPr sz="600"/>
            </a:lvl7pPr>
            <a:lvl8pPr marL="2151134" indent="0">
              <a:buNone/>
              <a:defRPr sz="600"/>
            </a:lvl8pPr>
            <a:lvl9pPr marL="245843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9B44F-ADED-4116-8454-5EF950C74F9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822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7" y="4800740"/>
            <a:ext cx="5486111" cy="567182"/>
          </a:xfrm>
        </p:spPr>
        <p:txBody>
          <a:bodyPr anchor="b"/>
          <a:lstStyle>
            <a:lvl1pPr algn="l">
              <a:defRPr sz="13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7" y="613401"/>
            <a:ext cx="5486111" cy="4114520"/>
          </a:xfrm>
        </p:spPr>
        <p:txBody>
          <a:bodyPr/>
          <a:lstStyle>
            <a:lvl1pPr marL="0" indent="0">
              <a:buNone/>
              <a:defRPr sz="2175"/>
            </a:lvl1pPr>
            <a:lvl2pPr marL="307305" indent="0">
              <a:buNone/>
              <a:defRPr sz="1875"/>
            </a:lvl2pPr>
            <a:lvl3pPr marL="614612" indent="0">
              <a:buNone/>
              <a:defRPr sz="1650"/>
            </a:lvl3pPr>
            <a:lvl4pPr marL="921915" indent="0">
              <a:buNone/>
              <a:defRPr sz="1350"/>
            </a:lvl4pPr>
            <a:lvl5pPr marL="1229219" indent="0">
              <a:buNone/>
              <a:defRPr sz="1350"/>
            </a:lvl5pPr>
            <a:lvl6pPr marL="1536524" indent="0">
              <a:buNone/>
              <a:defRPr sz="1350"/>
            </a:lvl6pPr>
            <a:lvl7pPr marL="1843830" indent="0">
              <a:buNone/>
              <a:defRPr sz="1350"/>
            </a:lvl7pPr>
            <a:lvl8pPr marL="2151134" indent="0">
              <a:buNone/>
              <a:defRPr sz="1350"/>
            </a:lvl8pPr>
            <a:lvl9pPr marL="2458439" indent="0">
              <a:buNone/>
              <a:defRPr sz="135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7" y="5367922"/>
            <a:ext cx="5486111" cy="803858"/>
          </a:xfrm>
        </p:spPr>
        <p:txBody>
          <a:bodyPr/>
          <a:lstStyle>
            <a:lvl1pPr marL="0" indent="0">
              <a:buNone/>
              <a:defRPr sz="975"/>
            </a:lvl1pPr>
            <a:lvl2pPr marL="307305" indent="0">
              <a:buNone/>
              <a:defRPr sz="825"/>
            </a:lvl2pPr>
            <a:lvl3pPr marL="614612" indent="0">
              <a:buNone/>
              <a:defRPr sz="675"/>
            </a:lvl3pPr>
            <a:lvl4pPr marL="921915" indent="0">
              <a:buNone/>
              <a:defRPr sz="600"/>
            </a:lvl4pPr>
            <a:lvl5pPr marL="1229219" indent="0">
              <a:buNone/>
              <a:defRPr sz="600"/>
            </a:lvl5pPr>
            <a:lvl6pPr marL="1536524" indent="0">
              <a:buNone/>
              <a:defRPr sz="600"/>
            </a:lvl6pPr>
            <a:lvl7pPr marL="1843830" indent="0">
              <a:buNone/>
              <a:defRPr sz="600"/>
            </a:lvl7pPr>
            <a:lvl8pPr marL="2151134" indent="0">
              <a:buNone/>
              <a:defRPr sz="600"/>
            </a:lvl8pPr>
            <a:lvl9pPr marL="245843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D34D8-AAE2-4AB2-B4A2-20FE65784FE6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6293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D7DAA-1B8C-4ECE-9DA5-38C847BE06E7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211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10" y="350114"/>
            <a:ext cx="2105269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529CBD-5BC7-4730-8EF7-DDB9FA85988B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7557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2"/>
          <a:ext cx="145739" cy="158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5739" cy="1582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2719970" y="6575112"/>
            <a:ext cx="2773570" cy="207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8448" tIns="34224" rIns="68448" bIns="34224">
            <a:spAutoFit/>
          </a:bodyPr>
          <a:lstStyle/>
          <a:p>
            <a:pPr eaLnBrk="1" hangingPunct="1">
              <a:defRPr/>
            </a:pPr>
            <a:r>
              <a:rPr lang="en-CA" sz="900" dirty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1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9"/>
            <a:ext cx="8350251" cy="5186363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008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32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32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32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>
          <a:xfrm>
            <a:off x="408356" y="6549902"/>
            <a:ext cx="282819" cy="142846"/>
          </a:xfrm>
        </p:spPr>
        <p:txBody>
          <a:bodyPr/>
          <a:lstStyle>
            <a:lvl1pPr>
              <a:defRPr>
                <a:solidFill>
                  <a:srgbClr val="002776"/>
                </a:solidFill>
              </a:defRPr>
            </a:lvl1pPr>
          </a:lstStyle>
          <a:p>
            <a:pPr>
              <a:defRPr/>
            </a:pPr>
            <a:fld id="{5435B4F6-45A2-421E-8EED-E66F91D4FC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941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40"/>
              </a:lnSpc>
              <a:defRPr sz="344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4" y="6533096"/>
            <a:ext cx="2828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C400DE4-7639-4A9D-90C2-D3477B34BB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0538" y="6533096"/>
            <a:ext cx="43173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59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81009-8919-4DEB-A5B1-63465220DC0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411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0" y="4407217"/>
            <a:ext cx="7771751" cy="1361237"/>
          </a:xfrm>
        </p:spPr>
        <p:txBody>
          <a:bodyPr/>
          <a:lstStyle>
            <a:lvl1pPr algn="l">
              <a:defRPr sz="264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0" y="2907334"/>
            <a:ext cx="7771751" cy="1499881"/>
          </a:xfrm>
        </p:spPr>
        <p:txBody>
          <a:bodyPr anchor="b"/>
          <a:lstStyle>
            <a:lvl1pPr marL="0" indent="0">
              <a:buNone/>
              <a:defRPr sz="1323"/>
            </a:lvl1pPr>
            <a:lvl2pPr marL="302167" indent="0">
              <a:buNone/>
              <a:defRPr sz="1191"/>
            </a:lvl2pPr>
            <a:lvl3pPr marL="604337" indent="0">
              <a:buNone/>
              <a:defRPr sz="1059"/>
            </a:lvl3pPr>
            <a:lvl4pPr marL="906502" indent="0">
              <a:buNone/>
              <a:defRPr sz="926"/>
            </a:lvl4pPr>
            <a:lvl5pPr marL="1208668" indent="0">
              <a:buNone/>
              <a:defRPr sz="926"/>
            </a:lvl5pPr>
            <a:lvl6pPr marL="1510835" indent="0">
              <a:buNone/>
              <a:defRPr sz="926"/>
            </a:lvl6pPr>
            <a:lvl7pPr marL="1813004" indent="0">
              <a:buNone/>
              <a:defRPr sz="926"/>
            </a:lvl7pPr>
            <a:lvl8pPr marL="2115170" indent="0">
              <a:buNone/>
              <a:defRPr sz="926"/>
            </a:lvl8pPr>
            <a:lvl9pPr marL="2417336" indent="0">
              <a:buNone/>
              <a:defRPr sz="92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3C3D5-40A2-4779-93EB-AB7B6099865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739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2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F49C1-7FF6-41C0-9A62-4C64EF2B7F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837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6"/>
            <a:ext cx="8229167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6"/>
            <a:ext cx="4040271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6"/>
            <a:ext cx="4041714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72F76-F88C-47AA-8431-A0D942FAA2D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r>
              <a:rPr lang="en-US" sz="596" smtClean="0">
                <a:solidFill>
                  <a:srgbClr val="002776"/>
                </a:solidFill>
                <a:latin typeface="Arial" charset="0"/>
                <a:cs typeface="Arial" charset="0"/>
              </a:rPr>
              <a:t> </a:t>
            </a:r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16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35305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1BEA7-AB41-4B68-8803-0FA090A34773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442068" y="64049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047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C4996-2872-4283-898C-2736B187459F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726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6"/>
            <a:ext cx="3008559" cy="1162373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1"/>
            <a:ext cx="5110943" cy="5852477"/>
          </a:xfrm>
        </p:spPr>
        <p:txBody>
          <a:bodyPr/>
          <a:lstStyle>
            <a:lvl1pPr>
              <a:defRPr sz="2117"/>
            </a:lvl1pPr>
            <a:lvl2pPr>
              <a:defRPr sz="1852"/>
            </a:lvl2pPr>
            <a:lvl3pPr>
              <a:defRPr sz="1655"/>
            </a:lvl3pPr>
            <a:lvl4pPr>
              <a:defRPr sz="1323"/>
            </a:lvl4pPr>
            <a:lvl5pPr>
              <a:defRPr sz="1323"/>
            </a:lvl5pPr>
            <a:lvl6pPr>
              <a:defRPr sz="1323"/>
            </a:lvl6pPr>
            <a:lvl7pPr>
              <a:defRPr sz="1323"/>
            </a:lvl7pPr>
            <a:lvl8pPr>
              <a:defRPr sz="1323"/>
            </a:lvl8pPr>
            <a:lvl9pPr>
              <a:defRPr sz="132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993C0-0176-4B49-8269-113EEC2866B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078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117"/>
            </a:lvl1pPr>
            <a:lvl2pPr marL="302167" indent="0">
              <a:buNone/>
              <a:defRPr sz="1852"/>
            </a:lvl2pPr>
            <a:lvl3pPr marL="604337" indent="0">
              <a:buNone/>
              <a:defRPr sz="1655"/>
            </a:lvl3pPr>
            <a:lvl4pPr marL="906502" indent="0">
              <a:buNone/>
              <a:defRPr sz="1323"/>
            </a:lvl4pPr>
            <a:lvl5pPr marL="1208668" indent="0">
              <a:buNone/>
              <a:defRPr sz="1323"/>
            </a:lvl5pPr>
            <a:lvl6pPr marL="1510835" indent="0">
              <a:buNone/>
              <a:defRPr sz="1323"/>
            </a:lvl6pPr>
            <a:lvl7pPr marL="1813004" indent="0">
              <a:buNone/>
              <a:defRPr sz="1323"/>
            </a:lvl7pPr>
            <a:lvl8pPr marL="2115170" indent="0">
              <a:buNone/>
              <a:defRPr sz="1323"/>
            </a:lvl8pPr>
            <a:lvl9pPr marL="2417336" indent="0">
              <a:buNone/>
              <a:defRPr sz="1323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7E21-B0DC-43BF-A0DD-92A67AEB084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238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470EB-2FE0-4940-8697-C9F4D0DA04CA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933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70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4D62B-1CC2-4DE6-AC2E-5BDF3CAE342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686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0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8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991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07990" y="6550027"/>
            <a:ext cx="282575" cy="142875"/>
          </a:xfr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3268" y="6550032"/>
            <a:ext cx="6395811" cy="81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530" baseline="0"/>
            </a:lvl1pPr>
          </a:lstStyle>
          <a:p>
            <a:pPr lvl="0"/>
            <a:r>
              <a:rPr lang="en-US" noProof="0" dirty="0" smtClean="0"/>
              <a:t>Note: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2720380" y="6575427"/>
            <a:ext cx="2643013" cy="2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7301" tIns="33650" rIns="67301" bIns="33650">
            <a:spAutoFit/>
          </a:bodyPr>
          <a:lstStyle/>
          <a:p>
            <a:pPr eaLnBrk="1" hangingPunct="1">
              <a:defRPr/>
            </a:pPr>
            <a:r>
              <a:rPr lang="en-CA" sz="860" dirty="0" smtClean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  <a:endParaRPr lang="en-CA" sz="860" dirty="0">
              <a:solidFill>
                <a:srgbClr val="FFFFFF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926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102350"/>
            <a:ext cx="2133601" cy="476250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/>
            </a:lvl1pPr>
          </a:lstStyle>
          <a:p>
            <a:pPr eaLnBrk="1" hangingPunct="1">
              <a:defRPr/>
            </a:pPr>
            <a:endParaRPr lang="en-US" sz="132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2678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D4138-F0CA-4A87-95AC-EBCF27F391FB}" type="slidenum">
              <a:rPr lang="en-US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C2678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486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959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40"/>
              </a:lnSpc>
              <a:defRPr sz="344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4" y="6533096"/>
            <a:ext cx="2828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C400DE4-7639-4A9D-90C2-D3477B34BB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0538" y="6533096"/>
            <a:ext cx="43173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376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5937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81009-8919-4DEB-A5B1-63465220DC0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2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0" y="4407217"/>
            <a:ext cx="7771751" cy="1361237"/>
          </a:xfrm>
        </p:spPr>
        <p:txBody>
          <a:bodyPr/>
          <a:lstStyle>
            <a:lvl1pPr algn="l">
              <a:defRPr sz="264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0" y="2907334"/>
            <a:ext cx="7771751" cy="1499881"/>
          </a:xfrm>
        </p:spPr>
        <p:txBody>
          <a:bodyPr anchor="b"/>
          <a:lstStyle>
            <a:lvl1pPr marL="0" indent="0">
              <a:buNone/>
              <a:defRPr sz="1323"/>
            </a:lvl1pPr>
            <a:lvl2pPr marL="302167" indent="0">
              <a:buNone/>
              <a:defRPr sz="1191"/>
            </a:lvl2pPr>
            <a:lvl3pPr marL="604337" indent="0">
              <a:buNone/>
              <a:defRPr sz="1059"/>
            </a:lvl3pPr>
            <a:lvl4pPr marL="906502" indent="0">
              <a:buNone/>
              <a:defRPr sz="926"/>
            </a:lvl4pPr>
            <a:lvl5pPr marL="1208668" indent="0">
              <a:buNone/>
              <a:defRPr sz="926"/>
            </a:lvl5pPr>
            <a:lvl6pPr marL="1510835" indent="0">
              <a:buNone/>
              <a:defRPr sz="926"/>
            </a:lvl6pPr>
            <a:lvl7pPr marL="1813004" indent="0">
              <a:buNone/>
              <a:defRPr sz="926"/>
            </a:lvl7pPr>
            <a:lvl8pPr marL="2115170" indent="0">
              <a:buNone/>
              <a:defRPr sz="926"/>
            </a:lvl8pPr>
            <a:lvl9pPr marL="2417336" indent="0">
              <a:buNone/>
              <a:defRPr sz="92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3C3D5-40A2-4779-93EB-AB7B6099865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042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2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F49C1-7FF6-41C0-9A62-4C64EF2B7F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480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6"/>
            <a:ext cx="8229167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6"/>
            <a:ext cx="4040271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6"/>
            <a:ext cx="4041714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72F76-F88C-47AA-8431-A0D942FAA2D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r>
              <a:rPr lang="en-US" sz="596" smtClean="0">
                <a:solidFill>
                  <a:srgbClr val="002776"/>
                </a:solidFill>
                <a:latin typeface="Arial" charset="0"/>
                <a:cs typeface="Arial" charset="0"/>
              </a:rPr>
              <a:t> </a:t>
            </a:r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05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1BEA7-AB41-4B68-8803-0FA090A34773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61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C4996-2872-4283-898C-2736B187459F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49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6"/>
            <a:ext cx="3008559" cy="1162373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1"/>
            <a:ext cx="5110943" cy="5852477"/>
          </a:xfrm>
        </p:spPr>
        <p:txBody>
          <a:bodyPr/>
          <a:lstStyle>
            <a:lvl1pPr>
              <a:defRPr sz="2117"/>
            </a:lvl1pPr>
            <a:lvl2pPr>
              <a:defRPr sz="1852"/>
            </a:lvl2pPr>
            <a:lvl3pPr>
              <a:defRPr sz="1655"/>
            </a:lvl3pPr>
            <a:lvl4pPr>
              <a:defRPr sz="1323"/>
            </a:lvl4pPr>
            <a:lvl5pPr>
              <a:defRPr sz="1323"/>
            </a:lvl5pPr>
            <a:lvl6pPr>
              <a:defRPr sz="1323"/>
            </a:lvl6pPr>
            <a:lvl7pPr>
              <a:defRPr sz="1323"/>
            </a:lvl7pPr>
            <a:lvl8pPr>
              <a:defRPr sz="1323"/>
            </a:lvl8pPr>
            <a:lvl9pPr>
              <a:defRPr sz="132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993C0-0176-4B49-8269-113EEC2866B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361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117"/>
            </a:lvl1pPr>
            <a:lvl2pPr marL="302167" indent="0">
              <a:buNone/>
              <a:defRPr sz="1852"/>
            </a:lvl2pPr>
            <a:lvl3pPr marL="604337" indent="0">
              <a:buNone/>
              <a:defRPr sz="1655"/>
            </a:lvl3pPr>
            <a:lvl4pPr marL="906502" indent="0">
              <a:buNone/>
              <a:defRPr sz="1323"/>
            </a:lvl4pPr>
            <a:lvl5pPr marL="1208668" indent="0">
              <a:buNone/>
              <a:defRPr sz="1323"/>
            </a:lvl5pPr>
            <a:lvl6pPr marL="1510835" indent="0">
              <a:buNone/>
              <a:defRPr sz="1323"/>
            </a:lvl6pPr>
            <a:lvl7pPr marL="1813004" indent="0">
              <a:buNone/>
              <a:defRPr sz="1323"/>
            </a:lvl7pPr>
            <a:lvl8pPr marL="2115170" indent="0">
              <a:buNone/>
              <a:defRPr sz="1323"/>
            </a:lvl8pPr>
            <a:lvl9pPr marL="2417336" indent="0">
              <a:buNone/>
              <a:defRPr sz="1323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7E21-B0DC-43BF-A0DD-92A67AEB084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61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470EB-2FE0-4940-8697-C9F4D0DA04CA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696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70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4D62B-1CC2-4DE6-AC2E-5BDF3CAE342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253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22094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0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8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991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07990" y="6550027"/>
            <a:ext cx="282575" cy="142875"/>
          </a:xfr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3268" y="6550032"/>
            <a:ext cx="6395811" cy="81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530" baseline="0"/>
            </a:lvl1pPr>
          </a:lstStyle>
          <a:p>
            <a:pPr lvl="0"/>
            <a:r>
              <a:rPr lang="en-US" noProof="0" dirty="0" smtClean="0"/>
              <a:t>Note: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2720380" y="6575427"/>
            <a:ext cx="2643013" cy="2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7301" tIns="33650" rIns="67301" bIns="33650">
            <a:spAutoFit/>
          </a:bodyPr>
          <a:lstStyle/>
          <a:p>
            <a:pPr eaLnBrk="1" hangingPunct="1">
              <a:defRPr/>
            </a:pPr>
            <a:r>
              <a:rPr lang="en-CA" sz="860" dirty="0" smtClean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  <a:endParaRPr lang="en-CA" sz="860" dirty="0">
              <a:solidFill>
                <a:srgbClr val="FFFFFF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618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102350"/>
            <a:ext cx="2133601" cy="476250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/>
            </a:lvl1pPr>
          </a:lstStyle>
          <a:p>
            <a:pPr eaLnBrk="1" hangingPunct="1">
              <a:defRPr/>
            </a:pPr>
            <a:endParaRPr lang="en-US" sz="132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2678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D4138-F0CA-4A87-95AC-EBCF27F391FB}" type="slidenum">
              <a:rPr lang="en-US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C2678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361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9" cy="1278000"/>
          </a:xfrm>
        </p:spPr>
        <p:txBody>
          <a:bodyPr/>
          <a:lstStyle>
            <a:lvl1pPr>
              <a:lnSpc>
                <a:spcPts val="3601"/>
              </a:lnSpc>
              <a:defRPr sz="3838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27992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2" y="2670657"/>
            <a:ext cx="6112353" cy="1128762"/>
          </a:xfrm>
        </p:spPr>
        <p:txBody>
          <a:bodyPr/>
          <a:lstStyle>
            <a:lvl1pPr>
              <a:lnSpc>
                <a:spcPts val="3440"/>
              </a:lnSpc>
              <a:defRPr sz="344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4" y="6533096"/>
            <a:ext cx="2828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C400DE4-7639-4A9D-90C2-D3477B34BB3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0538" y="6533096"/>
            <a:ext cx="4317319" cy="158250"/>
          </a:xfrm>
        </p:spPr>
        <p:txBody>
          <a:bodyPr/>
          <a:lstStyle>
            <a:lvl1pPr>
              <a:lnSpc>
                <a:spcPts val="885"/>
              </a:lnSpc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96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81009-8919-4DEB-A5B1-63465220DC0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833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0" y="4407217"/>
            <a:ext cx="7771751" cy="1361237"/>
          </a:xfrm>
        </p:spPr>
        <p:txBody>
          <a:bodyPr/>
          <a:lstStyle>
            <a:lvl1pPr algn="l">
              <a:defRPr sz="264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0" y="2907334"/>
            <a:ext cx="7771751" cy="1499881"/>
          </a:xfrm>
        </p:spPr>
        <p:txBody>
          <a:bodyPr anchor="b"/>
          <a:lstStyle>
            <a:lvl1pPr marL="0" indent="0">
              <a:buNone/>
              <a:defRPr sz="1323"/>
            </a:lvl1pPr>
            <a:lvl2pPr marL="302167" indent="0">
              <a:buNone/>
              <a:defRPr sz="1191"/>
            </a:lvl2pPr>
            <a:lvl3pPr marL="604337" indent="0">
              <a:buNone/>
              <a:defRPr sz="1059"/>
            </a:lvl3pPr>
            <a:lvl4pPr marL="906502" indent="0">
              <a:buNone/>
              <a:defRPr sz="926"/>
            </a:lvl4pPr>
            <a:lvl5pPr marL="1208668" indent="0">
              <a:buNone/>
              <a:defRPr sz="926"/>
            </a:lvl5pPr>
            <a:lvl6pPr marL="1510835" indent="0">
              <a:buNone/>
              <a:defRPr sz="926"/>
            </a:lvl6pPr>
            <a:lvl7pPr marL="1813004" indent="0">
              <a:buNone/>
              <a:defRPr sz="926"/>
            </a:lvl7pPr>
            <a:lvl8pPr marL="2115170" indent="0">
              <a:buNone/>
              <a:defRPr sz="926"/>
            </a:lvl8pPr>
            <a:lvl9pPr marL="2417336" indent="0">
              <a:buNone/>
              <a:defRPr sz="92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3C3D5-40A2-4779-93EB-AB7B6099865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10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2" cy="5219474"/>
          </a:xfrm>
        </p:spPr>
        <p:txBody>
          <a:bodyPr/>
          <a:lstStyle>
            <a:lvl1pPr>
              <a:defRPr sz="1852"/>
            </a:lvl1pPr>
            <a:lvl2pPr>
              <a:defRPr sz="1655"/>
            </a:lvl2pPr>
            <a:lvl3pPr>
              <a:defRPr sz="1323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F49C1-7FF6-41C0-9A62-4C64EF2B7F2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091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6"/>
            <a:ext cx="8229167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3" y="1534892"/>
            <a:ext cx="4040271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3" y="2174906"/>
            <a:ext cx="4040271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1655" b="1"/>
            </a:lvl1pPr>
            <a:lvl2pPr marL="302167" indent="0">
              <a:buNone/>
              <a:defRPr sz="1323" b="1"/>
            </a:lvl2pPr>
            <a:lvl3pPr marL="604337" indent="0">
              <a:buNone/>
              <a:defRPr sz="1191" b="1"/>
            </a:lvl3pPr>
            <a:lvl4pPr marL="906502" indent="0">
              <a:buNone/>
              <a:defRPr sz="1059" b="1"/>
            </a:lvl4pPr>
            <a:lvl5pPr marL="1208668" indent="0">
              <a:buNone/>
              <a:defRPr sz="1059" b="1"/>
            </a:lvl5pPr>
            <a:lvl6pPr marL="1510835" indent="0">
              <a:buNone/>
              <a:defRPr sz="1059" b="1"/>
            </a:lvl6pPr>
            <a:lvl7pPr marL="1813004" indent="0">
              <a:buNone/>
              <a:defRPr sz="1059" b="1"/>
            </a:lvl7pPr>
            <a:lvl8pPr marL="2115170" indent="0">
              <a:buNone/>
              <a:defRPr sz="1059" b="1"/>
            </a:lvl8pPr>
            <a:lvl9pPr marL="2417336" indent="0">
              <a:buNone/>
              <a:defRPr sz="105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6"/>
            <a:ext cx="4041714" cy="3950667"/>
          </a:xfrm>
        </p:spPr>
        <p:txBody>
          <a:bodyPr/>
          <a:lstStyle>
            <a:lvl1pPr>
              <a:defRPr sz="1655"/>
            </a:lvl1pPr>
            <a:lvl2pPr>
              <a:defRPr sz="1323"/>
            </a:lvl2pPr>
            <a:lvl3pPr>
              <a:defRPr sz="1191"/>
            </a:lvl3pPr>
            <a:lvl4pPr>
              <a:defRPr sz="1059"/>
            </a:lvl4pPr>
            <a:lvl5pPr>
              <a:defRPr sz="1059"/>
            </a:lvl5pPr>
            <a:lvl6pPr>
              <a:defRPr sz="1059"/>
            </a:lvl6pPr>
            <a:lvl7pPr>
              <a:defRPr sz="1059"/>
            </a:lvl7pPr>
            <a:lvl8pPr>
              <a:defRPr sz="1059"/>
            </a:lvl8pPr>
            <a:lvl9pPr>
              <a:defRPr sz="105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72F76-F88C-47AA-8431-A0D942FAA2D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r>
              <a:rPr lang="en-US" sz="596" smtClean="0">
                <a:solidFill>
                  <a:srgbClr val="002776"/>
                </a:solidFill>
                <a:latin typeface="Arial" charset="0"/>
                <a:cs typeface="Arial" charset="0"/>
              </a:rPr>
              <a:t> </a:t>
            </a:r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720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1BEA7-AB41-4B68-8803-0FA090A34773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1440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C4996-2872-4283-898C-2736B187459F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67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10498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6"/>
            <a:ext cx="3008559" cy="1162373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1"/>
            <a:ext cx="5110943" cy="5852477"/>
          </a:xfrm>
        </p:spPr>
        <p:txBody>
          <a:bodyPr/>
          <a:lstStyle>
            <a:lvl1pPr>
              <a:defRPr sz="2117"/>
            </a:lvl1pPr>
            <a:lvl2pPr>
              <a:defRPr sz="1852"/>
            </a:lvl2pPr>
            <a:lvl3pPr>
              <a:defRPr sz="1655"/>
            </a:lvl3pPr>
            <a:lvl4pPr>
              <a:defRPr sz="1323"/>
            </a:lvl4pPr>
            <a:lvl5pPr>
              <a:defRPr sz="1323"/>
            </a:lvl5pPr>
            <a:lvl6pPr>
              <a:defRPr sz="1323"/>
            </a:lvl6pPr>
            <a:lvl7pPr>
              <a:defRPr sz="1323"/>
            </a:lvl7pPr>
            <a:lvl8pPr>
              <a:defRPr sz="1323"/>
            </a:lvl8pPr>
            <a:lvl9pPr>
              <a:defRPr sz="132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1993C0-0176-4B49-8269-113EEC2866B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617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323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117"/>
            </a:lvl1pPr>
            <a:lvl2pPr marL="302167" indent="0">
              <a:buNone/>
              <a:defRPr sz="1852"/>
            </a:lvl2pPr>
            <a:lvl3pPr marL="604337" indent="0">
              <a:buNone/>
              <a:defRPr sz="1655"/>
            </a:lvl3pPr>
            <a:lvl4pPr marL="906502" indent="0">
              <a:buNone/>
              <a:defRPr sz="1323"/>
            </a:lvl4pPr>
            <a:lvl5pPr marL="1208668" indent="0">
              <a:buNone/>
              <a:defRPr sz="1323"/>
            </a:lvl5pPr>
            <a:lvl6pPr marL="1510835" indent="0">
              <a:buNone/>
              <a:defRPr sz="1323"/>
            </a:lvl6pPr>
            <a:lvl7pPr marL="1813004" indent="0">
              <a:buNone/>
              <a:defRPr sz="1323"/>
            </a:lvl7pPr>
            <a:lvl8pPr marL="2115170" indent="0">
              <a:buNone/>
              <a:defRPr sz="1323"/>
            </a:lvl8pPr>
            <a:lvl9pPr marL="2417336" indent="0">
              <a:buNone/>
              <a:defRPr sz="1323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926"/>
            </a:lvl1pPr>
            <a:lvl2pPr marL="302167" indent="0">
              <a:buNone/>
              <a:defRPr sz="794"/>
            </a:lvl2pPr>
            <a:lvl3pPr marL="604337" indent="0">
              <a:buNone/>
              <a:defRPr sz="662"/>
            </a:lvl3pPr>
            <a:lvl4pPr marL="906502" indent="0">
              <a:buNone/>
              <a:defRPr sz="596"/>
            </a:lvl4pPr>
            <a:lvl5pPr marL="1208668" indent="0">
              <a:buNone/>
              <a:defRPr sz="596"/>
            </a:lvl5pPr>
            <a:lvl6pPr marL="1510835" indent="0">
              <a:buNone/>
              <a:defRPr sz="596"/>
            </a:lvl6pPr>
            <a:lvl7pPr marL="1813004" indent="0">
              <a:buNone/>
              <a:defRPr sz="596"/>
            </a:lvl7pPr>
            <a:lvl8pPr marL="2115170" indent="0">
              <a:buNone/>
              <a:defRPr sz="596"/>
            </a:lvl8pPr>
            <a:lvl9pPr marL="2417336" indent="0">
              <a:buNone/>
              <a:defRPr sz="59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7E21-B0DC-43BF-A0DD-92A67AEB084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54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470EB-2FE0-4940-8697-C9F4D0DA04CA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567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70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2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4D62B-1CC2-4DE6-AC2E-5BDF3CAE342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2776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074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40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8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991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425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07990" y="6550027"/>
            <a:ext cx="282575" cy="142875"/>
          </a:xfr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3268" y="6550032"/>
            <a:ext cx="6395811" cy="81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530" baseline="0"/>
            </a:lvl1pPr>
          </a:lstStyle>
          <a:p>
            <a:pPr lvl="0"/>
            <a:r>
              <a:rPr lang="en-US" noProof="0" dirty="0" smtClean="0"/>
              <a:t>Note: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2720380" y="6575427"/>
            <a:ext cx="2643013" cy="2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7301" tIns="33650" rIns="67301" bIns="33650">
            <a:spAutoFit/>
          </a:bodyPr>
          <a:lstStyle/>
          <a:p>
            <a:pPr eaLnBrk="1" hangingPunct="1">
              <a:defRPr/>
            </a:pPr>
            <a:r>
              <a:rPr lang="en-CA" sz="860" dirty="0" smtClean="0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rPr>
              <a:t>DTTL Strategy, Innovation, Corporate Development</a:t>
            </a:r>
            <a:endParaRPr lang="en-CA" sz="860" dirty="0">
              <a:solidFill>
                <a:srgbClr val="FFFFFF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72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102350"/>
            <a:ext cx="2133601" cy="476250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/>
            </a:lvl1pPr>
          </a:lstStyle>
          <a:p>
            <a:pPr eaLnBrk="1" hangingPunct="1">
              <a:defRPr/>
            </a:pPr>
            <a:endParaRPr lang="en-US" sz="132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2678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D4138-F0CA-4A87-95AC-EBCF27F391FB}" type="slidenum">
              <a:rPr lang="en-US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C2678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42068" y="6519224"/>
            <a:ext cx="2354901" cy="152732"/>
          </a:xfrm>
          <a:prstGeom prst="rect">
            <a:avLst/>
          </a:prstGeom>
          <a:solidFill>
            <a:schemeClr val="bg1"/>
          </a:solidFill>
        </p:spPr>
        <p:txBody>
          <a:bodyPr wrap="square" lIns="60451" tIns="30225" rIns="60451" bIns="30225" rtlCol="0">
            <a:spAutoFit/>
          </a:bodyPr>
          <a:lstStyle/>
          <a:p>
            <a:pPr algn="r" eaLnBrk="1" hangingPunct="1"/>
            <a:endParaRPr lang="en-US" sz="596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067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106738" y="6519865"/>
            <a:ext cx="5657850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endParaRPr lang="nl-NL" sz="600">
              <a:solidFill>
                <a:srgbClr val="0C2678"/>
              </a:solidFill>
              <a:latin typeface="Verdana" pitchFamily="34" charset="0"/>
            </a:endParaRPr>
          </a:p>
        </p:txBody>
      </p:sp>
      <p:sp>
        <p:nvSpPr>
          <p:cNvPr id="409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7188" y="1973263"/>
            <a:ext cx="8383587" cy="1346200"/>
          </a:xfrm>
        </p:spPr>
        <p:txBody>
          <a:bodyPr/>
          <a:lstStyle>
            <a:lvl1pPr>
              <a:lnSpc>
                <a:spcPts val="3975"/>
              </a:lnSpc>
              <a:defRPr sz="4875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1000" y="3594100"/>
            <a:ext cx="5399088" cy="254000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350"/>
            </a:lvl1pPr>
          </a:lstStyle>
          <a:p>
            <a:r>
              <a:rPr lang="en-GB" alt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40988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8D3DE8-2864-40DF-9A8E-63C4BB066F17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00675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8C31DF-1B16-4995-A897-75CE8D0BD5B9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28565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1" y="1308102"/>
            <a:ext cx="4121150" cy="50085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2"/>
            <a:ext cx="4121150" cy="50085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931BD5-8CE0-49FB-B08C-69382EA73376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78054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29135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EF92A5-F8AC-4932-B19F-284D71599445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80232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2AB2A-D6D7-42CA-A39F-90F2B0F4222B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06825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F0E20B-B6FD-46DE-94F1-DC3AFEEA4E5D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52849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CE6A42-DF77-4D3F-8243-6DC36CD16520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32018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438330-0A37-4B07-BFE7-00D5073F299C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78000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79B1-230D-482D-B748-46F83059C2AC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48024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6" y="358775"/>
            <a:ext cx="2098675" cy="5957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58775"/>
            <a:ext cx="6143625" cy="5957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DE3B02-DC0C-4DB0-9DD9-98713FA76FD7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00175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58777"/>
            <a:ext cx="8391525" cy="619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8301" y="1308102"/>
            <a:ext cx="4121150" cy="5008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2"/>
            <a:ext cx="4121150" cy="5008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1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EBBB99-F460-404F-923D-DB46E82D311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8721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1" y="2670657"/>
            <a:ext cx="6112353" cy="1128762"/>
          </a:xfrm>
        </p:spPr>
        <p:txBody>
          <a:bodyPr/>
          <a:lstStyle>
            <a:lvl1pPr>
              <a:lnSpc>
                <a:spcPts val="4587"/>
              </a:lnSpc>
              <a:defRPr sz="4587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1" y="6533096"/>
            <a:ext cx="282819" cy="158250"/>
          </a:xfrm>
        </p:spPr>
        <p:txBody>
          <a:bodyPr/>
          <a:lstStyle>
            <a:lvl1pPr>
              <a:lnSpc>
                <a:spcPts val="1180"/>
              </a:lnSpc>
              <a:defRPr>
                <a:solidFill>
                  <a:schemeClr val="bg2"/>
                </a:solidFill>
              </a:defRPr>
            </a:lvl1pPr>
          </a:lstStyle>
          <a:p>
            <a:fld id="{984EF45E-5A51-40AB-A725-CBEC79842CE9}" type="slidenum">
              <a:rPr lang="en-US" altLang="nl-NL">
                <a:solidFill>
                  <a:srgbClr val="FFFFFF"/>
                </a:solidFill>
              </a:rPr>
              <a:pPr/>
              <a:t>‹#›</a:t>
            </a:fld>
            <a:endParaRPr lang="en-US" alt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1309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144B30-FC01-4D65-AFFE-E152DDECA5E7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571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15114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1" y="4407216"/>
            <a:ext cx="7771750" cy="1361237"/>
          </a:xfrm>
        </p:spPr>
        <p:txBody>
          <a:bodyPr/>
          <a:lstStyle>
            <a:lvl1pPr algn="l">
              <a:defRPr sz="3529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1" y="2907333"/>
            <a:ext cx="7771750" cy="1499881"/>
          </a:xfrm>
        </p:spPr>
        <p:txBody>
          <a:bodyPr anchor="b"/>
          <a:lstStyle>
            <a:lvl1pPr marL="0" indent="0">
              <a:buNone/>
              <a:defRPr sz="1764"/>
            </a:lvl1pPr>
            <a:lvl2pPr marL="402889" indent="0">
              <a:buNone/>
              <a:defRPr sz="1588"/>
            </a:lvl2pPr>
            <a:lvl3pPr marL="805782" indent="0">
              <a:buNone/>
              <a:defRPr sz="1412"/>
            </a:lvl3pPr>
            <a:lvl4pPr marL="1208669" indent="0">
              <a:buNone/>
              <a:defRPr sz="1235"/>
            </a:lvl4pPr>
            <a:lvl5pPr marL="1611557" indent="0">
              <a:buNone/>
              <a:defRPr sz="1235"/>
            </a:lvl5pPr>
            <a:lvl6pPr marL="2014447" indent="0">
              <a:buNone/>
              <a:defRPr sz="1235"/>
            </a:lvl6pPr>
            <a:lvl7pPr marL="2417338" indent="0">
              <a:buNone/>
              <a:defRPr sz="1235"/>
            </a:lvl7pPr>
            <a:lvl8pPr marL="2820226" indent="0">
              <a:buNone/>
              <a:defRPr sz="1235"/>
            </a:lvl8pPr>
            <a:lvl9pPr marL="3223115" indent="0">
              <a:buNone/>
              <a:defRPr sz="123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3A5332-8AA5-4776-8057-D2F49E50FB5C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154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6" y="1190382"/>
            <a:ext cx="4141278" cy="5219474"/>
          </a:xfrm>
        </p:spPr>
        <p:txBody>
          <a:bodyPr/>
          <a:lstStyle>
            <a:lvl1pPr>
              <a:defRPr sz="2470"/>
            </a:lvl1pPr>
            <a:lvl2pPr>
              <a:defRPr sz="2206"/>
            </a:lvl2pPr>
            <a:lvl3pPr>
              <a:defRPr sz="1764"/>
            </a:lvl3pPr>
            <a:lvl4pPr>
              <a:defRPr sz="1588"/>
            </a:lvl4pPr>
            <a:lvl5pPr>
              <a:defRPr sz="1588"/>
            </a:lvl5pPr>
            <a:lvl6pPr>
              <a:defRPr sz="1588"/>
            </a:lvl6pPr>
            <a:lvl7pPr>
              <a:defRPr sz="1588"/>
            </a:lvl7pPr>
            <a:lvl8pPr>
              <a:defRPr sz="1588"/>
            </a:lvl8pPr>
            <a:lvl9pPr>
              <a:defRPr sz="158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9" y="1190382"/>
            <a:ext cx="4142721" cy="5219474"/>
          </a:xfrm>
        </p:spPr>
        <p:txBody>
          <a:bodyPr/>
          <a:lstStyle>
            <a:lvl1pPr>
              <a:defRPr sz="2470"/>
            </a:lvl1pPr>
            <a:lvl2pPr>
              <a:defRPr sz="2206"/>
            </a:lvl2pPr>
            <a:lvl3pPr>
              <a:defRPr sz="1764"/>
            </a:lvl3pPr>
            <a:lvl4pPr>
              <a:defRPr sz="1588"/>
            </a:lvl4pPr>
            <a:lvl5pPr>
              <a:defRPr sz="1588"/>
            </a:lvl5pPr>
            <a:lvl6pPr>
              <a:defRPr sz="1588"/>
            </a:lvl6pPr>
            <a:lvl7pPr>
              <a:defRPr sz="1588"/>
            </a:lvl7pPr>
            <a:lvl8pPr>
              <a:defRPr sz="1588"/>
            </a:lvl8pPr>
            <a:lvl9pPr>
              <a:defRPr sz="158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42A554E-B0D8-4D14-989D-FB2E2307D8EF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797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495"/>
            <a:ext cx="8229166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2" y="1534892"/>
            <a:ext cx="4040271" cy="640006"/>
          </a:xfrm>
        </p:spPr>
        <p:txBody>
          <a:bodyPr anchor="b"/>
          <a:lstStyle>
            <a:lvl1pPr marL="0" indent="0">
              <a:buNone/>
              <a:defRPr sz="2206" b="1"/>
            </a:lvl1pPr>
            <a:lvl2pPr marL="402889" indent="0">
              <a:buNone/>
              <a:defRPr sz="1764" b="1"/>
            </a:lvl2pPr>
            <a:lvl3pPr marL="805782" indent="0">
              <a:buNone/>
              <a:defRPr sz="1588" b="1"/>
            </a:lvl3pPr>
            <a:lvl4pPr marL="1208669" indent="0">
              <a:buNone/>
              <a:defRPr sz="1412" b="1"/>
            </a:lvl4pPr>
            <a:lvl5pPr marL="1611557" indent="0">
              <a:buNone/>
              <a:defRPr sz="1412" b="1"/>
            </a:lvl5pPr>
            <a:lvl6pPr marL="2014447" indent="0">
              <a:buNone/>
              <a:defRPr sz="1412" b="1"/>
            </a:lvl6pPr>
            <a:lvl7pPr marL="2417338" indent="0">
              <a:buNone/>
              <a:defRPr sz="1412" b="1"/>
            </a:lvl7pPr>
            <a:lvl8pPr marL="2820226" indent="0">
              <a:buNone/>
              <a:defRPr sz="1412" b="1"/>
            </a:lvl8pPr>
            <a:lvl9pPr marL="3223115" indent="0">
              <a:buNone/>
              <a:defRPr sz="141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2" y="2174905"/>
            <a:ext cx="4040271" cy="3950667"/>
          </a:xfrm>
        </p:spPr>
        <p:txBody>
          <a:bodyPr/>
          <a:lstStyle>
            <a:lvl1pPr>
              <a:defRPr sz="2206"/>
            </a:lvl1pPr>
            <a:lvl2pPr>
              <a:defRPr sz="1764"/>
            </a:lvl2pPr>
            <a:lvl3pPr>
              <a:defRPr sz="1588"/>
            </a:lvl3pPr>
            <a:lvl4pPr>
              <a:defRPr sz="1412"/>
            </a:lvl4pPr>
            <a:lvl5pPr>
              <a:defRPr sz="1412"/>
            </a:lvl5pPr>
            <a:lvl6pPr>
              <a:defRPr sz="1412"/>
            </a:lvl6pPr>
            <a:lvl7pPr>
              <a:defRPr sz="1412"/>
            </a:lvl7pPr>
            <a:lvl8pPr>
              <a:defRPr sz="1412"/>
            </a:lvl8pPr>
            <a:lvl9pPr>
              <a:defRPr sz="141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2" y="1534892"/>
            <a:ext cx="4041714" cy="640006"/>
          </a:xfrm>
        </p:spPr>
        <p:txBody>
          <a:bodyPr anchor="b"/>
          <a:lstStyle>
            <a:lvl1pPr marL="0" indent="0">
              <a:buNone/>
              <a:defRPr sz="2206" b="1"/>
            </a:lvl1pPr>
            <a:lvl2pPr marL="402889" indent="0">
              <a:buNone/>
              <a:defRPr sz="1764" b="1"/>
            </a:lvl2pPr>
            <a:lvl3pPr marL="805782" indent="0">
              <a:buNone/>
              <a:defRPr sz="1588" b="1"/>
            </a:lvl3pPr>
            <a:lvl4pPr marL="1208669" indent="0">
              <a:buNone/>
              <a:defRPr sz="1412" b="1"/>
            </a:lvl4pPr>
            <a:lvl5pPr marL="1611557" indent="0">
              <a:buNone/>
              <a:defRPr sz="1412" b="1"/>
            </a:lvl5pPr>
            <a:lvl6pPr marL="2014447" indent="0">
              <a:buNone/>
              <a:defRPr sz="1412" b="1"/>
            </a:lvl6pPr>
            <a:lvl7pPr marL="2417338" indent="0">
              <a:buNone/>
              <a:defRPr sz="1412" b="1"/>
            </a:lvl7pPr>
            <a:lvl8pPr marL="2820226" indent="0">
              <a:buNone/>
              <a:defRPr sz="1412" b="1"/>
            </a:lvl8pPr>
            <a:lvl9pPr marL="3223115" indent="0">
              <a:buNone/>
              <a:defRPr sz="141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2" y="2174905"/>
            <a:ext cx="4041714" cy="3950667"/>
          </a:xfrm>
        </p:spPr>
        <p:txBody>
          <a:bodyPr/>
          <a:lstStyle>
            <a:lvl1pPr>
              <a:defRPr sz="2206"/>
            </a:lvl1pPr>
            <a:lvl2pPr>
              <a:defRPr sz="1764"/>
            </a:lvl2pPr>
            <a:lvl3pPr>
              <a:defRPr sz="1588"/>
            </a:lvl3pPr>
            <a:lvl4pPr>
              <a:defRPr sz="1412"/>
            </a:lvl4pPr>
            <a:lvl5pPr>
              <a:defRPr sz="1412"/>
            </a:lvl5pPr>
            <a:lvl6pPr>
              <a:defRPr sz="1412"/>
            </a:lvl6pPr>
            <a:lvl7pPr>
              <a:defRPr sz="1412"/>
            </a:lvl7pPr>
            <a:lvl8pPr>
              <a:defRPr sz="1412"/>
            </a:lvl8pPr>
            <a:lvl9pPr>
              <a:defRPr sz="141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7831A9-2905-4A4F-B48C-800E1DFD4DFA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1307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C0ED0E-54EE-4ADC-BD6E-7A38EA9D0DBD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660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FD572F-B5D5-41C2-AC1B-C8139C96A84E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1586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3095"/>
            <a:ext cx="3008559" cy="1162373"/>
          </a:xfrm>
        </p:spPr>
        <p:txBody>
          <a:bodyPr anchor="b"/>
          <a:lstStyle>
            <a:lvl1pPr algn="l">
              <a:defRPr sz="1764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48" y="273090"/>
            <a:ext cx="5110943" cy="5852477"/>
          </a:xfrm>
        </p:spPr>
        <p:txBody>
          <a:bodyPr/>
          <a:lstStyle>
            <a:lvl1pPr>
              <a:defRPr sz="2823"/>
            </a:lvl1pPr>
            <a:lvl2pPr>
              <a:defRPr sz="2470"/>
            </a:lvl2pPr>
            <a:lvl3pPr>
              <a:defRPr sz="2206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5461"/>
            <a:ext cx="3008559" cy="4690104"/>
          </a:xfrm>
        </p:spPr>
        <p:txBody>
          <a:bodyPr/>
          <a:lstStyle>
            <a:lvl1pPr marL="0" indent="0">
              <a:buNone/>
              <a:defRPr sz="1235"/>
            </a:lvl1pPr>
            <a:lvl2pPr marL="402889" indent="0">
              <a:buNone/>
              <a:defRPr sz="1059"/>
            </a:lvl2pPr>
            <a:lvl3pPr marL="805782" indent="0">
              <a:buNone/>
              <a:defRPr sz="882"/>
            </a:lvl3pPr>
            <a:lvl4pPr marL="1208669" indent="0">
              <a:buNone/>
              <a:defRPr sz="794"/>
            </a:lvl4pPr>
            <a:lvl5pPr marL="1611557" indent="0">
              <a:buNone/>
              <a:defRPr sz="794"/>
            </a:lvl5pPr>
            <a:lvl6pPr marL="2014447" indent="0">
              <a:buNone/>
              <a:defRPr sz="794"/>
            </a:lvl6pPr>
            <a:lvl7pPr marL="2417338" indent="0">
              <a:buNone/>
              <a:defRPr sz="794"/>
            </a:lvl7pPr>
            <a:lvl8pPr marL="2820226" indent="0">
              <a:buNone/>
              <a:defRPr sz="794"/>
            </a:lvl8pPr>
            <a:lvl9pPr marL="3223115" indent="0">
              <a:buNone/>
              <a:defRPr sz="794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4D54D8-A9B6-4E52-91CA-502ABBA1195B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3116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56" y="4800740"/>
            <a:ext cx="5486111" cy="567182"/>
          </a:xfrm>
        </p:spPr>
        <p:txBody>
          <a:bodyPr anchor="b"/>
          <a:lstStyle>
            <a:lvl1pPr algn="l">
              <a:defRPr sz="1764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56" y="613401"/>
            <a:ext cx="5486111" cy="4114520"/>
          </a:xfrm>
        </p:spPr>
        <p:txBody>
          <a:bodyPr/>
          <a:lstStyle>
            <a:lvl1pPr marL="0" indent="0">
              <a:buNone/>
              <a:defRPr sz="2823"/>
            </a:lvl1pPr>
            <a:lvl2pPr marL="402889" indent="0">
              <a:buNone/>
              <a:defRPr sz="2470"/>
            </a:lvl2pPr>
            <a:lvl3pPr marL="805782" indent="0">
              <a:buNone/>
              <a:defRPr sz="2206"/>
            </a:lvl3pPr>
            <a:lvl4pPr marL="1208669" indent="0">
              <a:buNone/>
              <a:defRPr sz="1764"/>
            </a:lvl4pPr>
            <a:lvl5pPr marL="1611557" indent="0">
              <a:buNone/>
              <a:defRPr sz="1764"/>
            </a:lvl5pPr>
            <a:lvl6pPr marL="2014447" indent="0">
              <a:buNone/>
              <a:defRPr sz="1764"/>
            </a:lvl6pPr>
            <a:lvl7pPr marL="2417338" indent="0">
              <a:buNone/>
              <a:defRPr sz="1764"/>
            </a:lvl7pPr>
            <a:lvl8pPr marL="2820226" indent="0">
              <a:buNone/>
              <a:defRPr sz="1764"/>
            </a:lvl8pPr>
            <a:lvl9pPr marL="3223115" indent="0">
              <a:buNone/>
              <a:defRPr sz="1764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56" y="5367922"/>
            <a:ext cx="5486111" cy="803858"/>
          </a:xfrm>
        </p:spPr>
        <p:txBody>
          <a:bodyPr/>
          <a:lstStyle>
            <a:lvl1pPr marL="0" indent="0">
              <a:buNone/>
              <a:defRPr sz="1235"/>
            </a:lvl1pPr>
            <a:lvl2pPr marL="402889" indent="0">
              <a:buNone/>
              <a:defRPr sz="1059"/>
            </a:lvl2pPr>
            <a:lvl3pPr marL="805782" indent="0">
              <a:buNone/>
              <a:defRPr sz="882"/>
            </a:lvl3pPr>
            <a:lvl4pPr marL="1208669" indent="0">
              <a:buNone/>
              <a:defRPr sz="794"/>
            </a:lvl4pPr>
            <a:lvl5pPr marL="1611557" indent="0">
              <a:buNone/>
              <a:defRPr sz="794"/>
            </a:lvl5pPr>
            <a:lvl6pPr marL="2014447" indent="0">
              <a:buNone/>
              <a:defRPr sz="794"/>
            </a:lvl6pPr>
            <a:lvl7pPr marL="2417338" indent="0">
              <a:buNone/>
              <a:defRPr sz="794"/>
            </a:lvl7pPr>
            <a:lvl8pPr marL="2820226" indent="0">
              <a:buNone/>
              <a:defRPr sz="794"/>
            </a:lvl8pPr>
            <a:lvl9pPr marL="3223115" indent="0">
              <a:buNone/>
              <a:defRPr sz="794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AB63F7-16B6-4CA4-B433-314115EBCCC9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2066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A81D69-5D5D-4DD4-9BEB-043F9B63603D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5286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09" y="350114"/>
            <a:ext cx="2105269" cy="60597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71" y="350114"/>
            <a:ext cx="6181615" cy="60597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94579A-31C8-4D6B-BDEB-3C8DBB7732DA}" type="slidenum">
              <a:rPr lang="en-US" altLang="nl-NL">
                <a:solidFill>
                  <a:srgbClr val="002776"/>
                </a:solidFill>
              </a:rPr>
              <a:pPr/>
              <a:t>‹#›</a:t>
            </a:fld>
            <a:endParaRPr lang="en-US" altLang="nl-NL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2870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5739" cy="158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5739" cy="1582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80" y="30003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7"/>
            <a:ext cx="8350251" cy="5186363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322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lnSpc>
                <a:spcPct val="106000"/>
              </a:lnSpc>
              <a:spcBef>
                <a:spcPts val="566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6000"/>
              </a:lnSpc>
              <a:spcBef>
                <a:spcPts val="566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6000"/>
              </a:lnSpc>
              <a:spcBef>
                <a:spcPts val="566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703269" y="6550031"/>
            <a:ext cx="6395811" cy="10860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706"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>
          <a:xfrm>
            <a:off x="408356" y="6549902"/>
            <a:ext cx="282819" cy="142846"/>
          </a:xfrm>
        </p:spPr>
        <p:txBody>
          <a:bodyPr/>
          <a:lstStyle>
            <a:lvl1pPr>
              <a:defRPr>
                <a:solidFill>
                  <a:srgbClr val="002776"/>
                </a:solidFill>
              </a:defRPr>
            </a:lvl1pPr>
          </a:lstStyle>
          <a:p>
            <a:fld id="{98E7C187-E6E6-4BCB-A995-D801AB752724}" type="slidenum">
              <a:rPr lang="en-US" altLang="nl-NL"/>
              <a:pPr/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853675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185150" y="6511925"/>
            <a:ext cx="792163" cy="1793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197059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DEL_PRI_RGB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49" y="253482"/>
            <a:ext cx="2132686" cy="47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8"/>
          <p:cNvSpPr txBox="1">
            <a:spLocks noChangeArrowheads="1"/>
          </p:cNvSpPr>
          <p:nvPr userDrawn="1"/>
        </p:nvSpPr>
        <p:spPr bwMode="auto">
          <a:xfrm>
            <a:off x="6927623" y="6495284"/>
            <a:ext cx="1939330" cy="35287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601" tIns="40300" rIns="80601" bIns="403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nl-NL" altLang="nl-NL" sz="1764" smtClean="0">
              <a:solidFill>
                <a:srgbClr val="000000"/>
              </a:solidFill>
            </a:endParaRPr>
          </a:p>
        </p:txBody>
      </p:sp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1142827" y="2886328"/>
            <a:ext cx="3996983" cy="1128762"/>
          </a:xfrm>
        </p:spPr>
        <p:txBody>
          <a:bodyPr/>
          <a:lstStyle>
            <a:lvl1pPr>
              <a:lnSpc>
                <a:spcPts val="2467"/>
              </a:lnSpc>
              <a:defRPr sz="247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3" y="6028942"/>
            <a:ext cx="4740104" cy="303897"/>
          </a:xfrm>
        </p:spPr>
        <p:txBody>
          <a:bodyPr/>
          <a:lstStyle>
            <a:lvl1pPr marL="0" indent="0">
              <a:lnSpc>
                <a:spcPts val="1960"/>
              </a:lnSpc>
              <a:defRPr b="1" smtClean="0"/>
            </a:lvl1pPr>
          </a:lstStyle>
          <a:p>
            <a:r>
              <a:rPr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6895682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5" y="1600206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417" y="6101757"/>
            <a:ext cx="2132686" cy="476153"/>
          </a:xfrm>
          <a:prstGeom prst="rect">
            <a:avLst/>
          </a:prstGeom>
        </p:spPr>
        <p:txBody>
          <a:bodyPr lIns="101819" tIns="50909" rIns="101819" bIns="50909"/>
          <a:lstStyle>
            <a:lvl1pPr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771981" y="6554102"/>
            <a:ext cx="4317318" cy="1442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C2678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C2678"/>
                </a:solidFill>
              </a:defRPr>
            </a:lvl1pPr>
          </a:lstStyle>
          <a:p>
            <a:fld id="{49632EC7-56A9-42E4-A6EB-B2240CF779F4}" type="slidenum">
              <a:rPr lang="en-US" altLang="nl-NL"/>
              <a:pPr/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46373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01"/>
              </a:lnSpc>
              <a:defRPr sz="5117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5691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106738" y="6519863"/>
            <a:ext cx="56578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endParaRPr lang="nl-NL" sz="800" smtClean="0">
              <a:solidFill>
                <a:srgbClr val="091D5D"/>
              </a:solidFill>
            </a:endParaRPr>
          </a:p>
        </p:txBody>
      </p:sp>
      <p:sp>
        <p:nvSpPr>
          <p:cNvPr id="409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7188" y="1973263"/>
            <a:ext cx="8383587" cy="1346200"/>
          </a:xfrm>
        </p:spPr>
        <p:txBody>
          <a:bodyPr/>
          <a:lstStyle>
            <a:lvl1pPr>
              <a:lnSpc>
                <a:spcPts val="5300"/>
              </a:lnSpc>
              <a:defRPr sz="65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1000" y="3594100"/>
            <a:ext cx="5399088" cy="254000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800"/>
            </a:lvl1pPr>
          </a:lstStyle>
          <a:p>
            <a:r>
              <a:rPr lang="en-GB" alt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33468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97121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78779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0"/>
            <a:ext cx="4121150" cy="5008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32814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63057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36414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45466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49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58775"/>
            <a:ext cx="83915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308100"/>
            <a:ext cx="8394700" cy="50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28441-53AB-49F0-9010-BDEDDD18253A}" type="slidenum">
              <a:rPr lang="nl-NL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4250" r:id="rId1"/>
    <p:sldLayoutId id="2147484240" r:id="rId2"/>
    <p:sldLayoutId id="2147484241" r:id="rId3"/>
    <p:sldLayoutId id="2147484242" r:id="rId4"/>
    <p:sldLayoutId id="2147484243" r:id="rId5"/>
    <p:sldLayoutId id="2147484244" r:id="rId6"/>
    <p:sldLayoutId id="2147484245" r:id="rId7"/>
    <p:sldLayoutId id="2147484246" r:id="rId8"/>
    <p:sldLayoutId id="2147484247" r:id="rId9"/>
    <p:sldLayoutId id="2147484248" r:id="rId10"/>
    <p:sldLayoutId id="2147484249" r:id="rId11"/>
    <p:sldLayoutId id="2147484334" r:id="rId12"/>
  </p:sldLayoutIdLst>
  <p:transition>
    <p:fade/>
  </p:transition>
  <p:hf hdr="0" ftr="0" dt="0"/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9pPr>
    </p:titleStyle>
    <p:bodyStyle>
      <a:lvl1pPr marL="190500" indent="-190500" algn="l" rtl="0" eaLnBrk="0" fontAlgn="base" hangingPunct="0">
        <a:lnSpc>
          <a:spcPts val="22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2200">
          <a:solidFill>
            <a:schemeClr val="bg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ts val="22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2200">
          <a:solidFill>
            <a:schemeClr val="bg1"/>
          </a:solidFill>
          <a:latin typeface="+mn-lt"/>
        </a:defRPr>
      </a:lvl2pPr>
      <a:lvl3pPr marL="574675" indent="-190500" algn="l" rtl="0" eaLnBrk="0" fontAlgn="base" hangingPunct="0">
        <a:lnSpc>
          <a:spcPts val="2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3pPr>
      <a:lvl4pPr marL="771525" indent="-195263" algn="l" rtl="0" eaLnBrk="0" fontAlgn="base" hangingPunct="0">
        <a:lnSpc>
          <a:spcPts val="18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8059" y="6554110"/>
            <a:ext cx="2313056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/>
            <a:endParaRPr lang="en-US" sz="530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2291" name="Title Placeholder 1"/>
          <p:cNvSpPr>
            <a:spLocks noGrp="1"/>
          </p:cNvSpPr>
          <p:nvPr>
            <p:ph type="title"/>
          </p:nvPr>
        </p:nvSpPr>
        <p:spPr bwMode="auto">
          <a:xfrm>
            <a:off x="408362" y="350115"/>
            <a:ext cx="8422522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4" y="6554110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32E88536-648D-4B64-B6E7-189914892D7F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6554110"/>
            <a:ext cx="43173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endParaRPr lang="en-US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33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1" r:id="rId1"/>
    <p:sldLayoutId id="2147484422" r:id="rId2"/>
    <p:sldLayoutId id="2147484423" r:id="rId3"/>
    <p:sldLayoutId id="2147484424" r:id="rId4"/>
    <p:sldLayoutId id="2147484425" r:id="rId5"/>
    <p:sldLayoutId id="2147484426" r:id="rId6"/>
    <p:sldLayoutId id="2147484427" r:id="rId7"/>
    <p:sldLayoutId id="2147484428" r:id="rId8"/>
    <p:sldLayoutId id="2147484429" r:id="rId9"/>
    <p:sldLayoutId id="2147484430" r:id="rId10"/>
    <p:sldLayoutId id="2147484431" r:id="rId11"/>
    <p:sldLayoutId id="2147484432" r:id="rId12"/>
    <p:sldLayoutId id="2147484433" r:id="rId13"/>
    <p:sldLayoutId id="2147484434" r:id="rId14"/>
    <p:sldLayoutId id="2147484435" r:id="rId15"/>
    <p:sldLayoutId id="2147484436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2pPr>
      <a:lvl3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3pPr>
      <a:lvl4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4pPr>
      <a:lvl5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5pPr>
      <a:lvl6pPr marL="30216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6pPr>
      <a:lvl7pPr marL="60433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7pPr>
      <a:lvl8pPr marL="906502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8pPr>
      <a:lvl9pPr marL="1208668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9pPr>
    </p:titleStyle>
    <p:bodyStyle>
      <a:lvl1pPr marL="252856" indent="-252856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defRPr sz="1323">
          <a:solidFill>
            <a:schemeClr val="tx2"/>
          </a:solidFill>
          <a:latin typeface="+mn-lt"/>
          <a:ea typeface="+mn-ea"/>
          <a:cs typeface="+mn-cs"/>
        </a:defRPr>
      </a:lvl1pPr>
      <a:lvl2pPr marL="134297" indent="-134297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•"/>
        <a:defRPr sz="1323">
          <a:solidFill>
            <a:schemeClr val="tx2"/>
          </a:solidFill>
          <a:latin typeface="+mn-lt"/>
        </a:defRPr>
      </a:lvl2pPr>
      <a:lvl3pPr marL="263348" indent="-129052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‒"/>
        <a:defRPr sz="1323">
          <a:solidFill>
            <a:schemeClr val="tx2"/>
          </a:solidFill>
          <a:latin typeface="+mn-lt"/>
        </a:defRPr>
      </a:lvl3pPr>
      <a:lvl4pPr marL="397644" indent="-134297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24597" indent="-126953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2676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2893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31097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33264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1pPr>
      <a:lvl2pPr marL="30216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2pPr>
      <a:lvl3pPr marL="60433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3pPr>
      <a:lvl4pPr marL="906502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4pPr>
      <a:lvl5pPr marL="1208668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5pPr>
      <a:lvl6pPr marL="1510835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6pPr>
      <a:lvl7pPr marL="1813004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7pPr>
      <a:lvl8pPr marL="211517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8pPr>
      <a:lvl9pPr marL="2417336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58775"/>
            <a:ext cx="83915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308100"/>
            <a:ext cx="8394700" cy="50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40858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3900" y="6519863"/>
            <a:ext cx="52435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r>
              <a:rPr lang="en-GB" altLang="en-GB">
                <a:solidFill>
                  <a:srgbClr val="0C2678"/>
                </a:solidFill>
              </a:rPr>
              <a:t>Presentation Name (View / Header and Footer)</a:t>
            </a:r>
          </a:p>
        </p:txBody>
      </p:sp>
      <p:sp>
        <p:nvSpPr>
          <p:cNvPr id="1029" name="Rectangle 9"/>
          <p:cNvSpPr>
            <a:spLocks noChangeArrowheads="1"/>
          </p:cNvSpPr>
          <p:nvPr/>
        </p:nvSpPr>
        <p:spPr bwMode="auto">
          <a:xfrm>
            <a:off x="1995488" y="6523038"/>
            <a:ext cx="5243512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eaLnBrk="1" hangingPunct="1"/>
            <a:r>
              <a:rPr lang="en-GB" altLang="en-GB" sz="800">
                <a:solidFill>
                  <a:srgbClr val="FFFFFF"/>
                </a:solidFill>
                <a:cs typeface="Arial" charset="0"/>
              </a:rPr>
              <a:t>International Public Sector Accounting Standards (IPSAS)</a:t>
            </a:r>
          </a:p>
        </p:txBody>
      </p:sp>
      <p:sp>
        <p:nvSpPr>
          <p:cNvPr id="7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301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</p:sldLayoutIdLst>
  <p:transition>
    <p:fade/>
  </p:transition>
  <p:hf hdr="0" ftr="0" dt="0"/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9pPr>
    </p:titleStyle>
    <p:bodyStyle>
      <a:lvl1pPr marL="190500" indent="-190500" algn="l" rtl="0" eaLnBrk="0" fontAlgn="base" hangingPunct="0">
        <a:lnSpc>
          <a:spcPts val="22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2200">
          <a:solidFill>
            <a:schemeClr val="bg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ts val="22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2200">
          <a:solidFill>
            <a:schemeClr val="bg1"/>
          </a:solidFill>
          <a:latin typeface="+mn-lt"/>
        </a:defRPr>
      </a:lvl2pPr>
      <a:lvl3pPr marL="574675" indent="-190500" algn="l" rtl="0" eaLnBrk="0" fontAlgn="base" hangingPunct="0">
        <a:lnSpc>
          <a:spcPts val="2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3pPr>
      <a:lvl4pPr marL="771525" indent="-195263" algn="l" rtl="0" eaLnBrk="0" fontAlgn="base" hangingPunct="0">
        <a:lnSpc>
          <a:spcPts val="18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76200"/>
            <a:ext cx="7467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75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C5E2850-4C20-4781-A97D-72E010E7C948}" type="datetime1">
              <a:rPr lang="en-US">
                <a:solidFill>
                  <a:srgbClr val="000000"/>
                </a:solidFill>
                <a:latin typeface="Arial" charset="0"/>
              </a:rPr>
              <a:pPr>
                <a:defRPr/>
              </a:pPr>
              <a:t>8/28/2016</a:t>
            </a:fld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05600" y="638175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600">
                <a:solidFill>
                  <a:schemeClr val="bg1"/>
                </a:solidFill>
              </a:defRPr>
            </a:lvl1pPr>
          </a:lstStyle>
          <a:p>
            <a:fld id="{2B3E1E5D-5356-46F4-A124-158A21CF7BD7}" type="slidenum">
              <a:rPr lang="en-US" b="1">
                <a:solidFill>
                  <a:srgbClr val="FFFFFF"/>
                </a:solidFill>
                <a:latin typeface="Arial" charset="0"/>
              </a:rPr>
              <a:pPr/>
              <a:t>‹#›</a:t>
            </a:fld>
            <a:endParaRPr lang="en-US" b="1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031" name="Picture 8" descr="fadlogo2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001000" y="0"/>
            <a:ext cx="1143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>
              <a:solidFill>
                <a:srgbClr val="0000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597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  <p:sldLayoutId id="2147484474" r:id="rId10"/>
    <p:sldLayoutId id="2147484475" r:id="rId11"/>
    <p:sldLayoutId id="2147484476" r:id="rId12"/>
    <p:sldLayoutId id="2147484477" r:id="rId13"/>
    <p:sldLayoutId id="2147484478" r:id="rId14"/>
    <p:sldLayoutId id="2147484479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99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99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rgbClr val="99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rgbClr val="99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rgbClr val="99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99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accent2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66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08357" y="350113"/>
            <a:ext cx="8422522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1" y="6554104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808"/>
              </a:lnSpc>
              <a:defRPr sz="675" b="1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E5623935-48EB-43BB-989D-2E3A2FD1B057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604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272" r:id="rId8"/>
    <p:sldLayoutId id="2147484273" r:id="rId9"/>
    <p:sldLayoutId id="2147484274" r:id="rId10"/>
    <p:sldLayoutId id="2147484275" r:id="rId11"/>
    <p:sldLayoutId id="2147484276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4735" rtl="0" eaLnBrk="0" fontAlgn="base" hangingPunct="0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735" rtl="0" eaLnBrk="0" fontAlgn="base" hangingPunct="0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2pPr>
      <a:lvl3pPr algn="l" defTabSz="684735" rtl="0" eaLnBrk="0" fontAlgn="base" hangingPunct="0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3pPr>
      <a:lvl4pPr algn="l" defTabSz="684735" rtl="0" eaLnBrk="0" fontAlgn="base" hangingPunct="0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4pPr>
      <a:lvl5pPr algn="l" defTabSz="684735" rtl="0" eaLnBrk="0" fontAlgn="base" hangingPunct="0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5pPr>
      <a:lvl6pPr marL="307305" algn="l" defTabSz="685034" rtl="0" eaLnBrk="1" fontAlgn="base" hangingPunct="1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6pPr>
      <a:lvl7pPr marL="614612" algn="l" defTabSz="685034" rtl="0" eaLnBrk="1" fontAlgn="base" hangingPunct="1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7pPr>
      <a:lvl8pPr marL="921915" algn="l" defTabSz="685034" rtl="0" eaLnBrk="1" fontAlgn="base" hangingPunct="1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8pPr>
      <a:lvl9pPr marL="1229219" algn="l" defTabSz="685034" rtl="0" eaLnBrk="1" fontAlgn="base" hangingPunct="1">
        <a:lnSpc>
          <a:spcPts val="2288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9pPr>
    </p:titleStyle>
    <p:bodyStyle>
      <a:lvl1pPr marL="256375" indent="-256375" algn="l" defTabSz="684735" rtl="0" eaLnBrk="0" fontAlgn="base" hangingPunct="0">
        <a:spcBef>
          <a:spcPct val="0"/>
        </a:spcBef>
        <a:spcAft>
          <a:spcPts val="202"/>
        </a:spcAft>
        <a:buFont typeface="Arial" charset="0"/>
        <a:defRPr sz="1350">
          <a:solidFill>
            <a:schemeClr val="tx2"/>
          </a:solidFill>
          <a:latin typeface="+mn-lt"/>
          <a:ea typeface="+mn-ea"/>
          <a:cs typeface="+mn-cs"/>
        </a:defRPr>
      </a:lvl1pPr>
      <a:lvl2pPr marL="135665" indent="-135665" algn="l" defTabSz="684735" rtl="0" eaLnBrk="0" fontAlgn="base" hangingPunct="0">
        <a:spcBef>
          <a:spcPct val="0"/>
        </a:spcBef>
        <a:spcAft>
          <a:spcPts val="202"/>
        </a:spcAft>
        <a:buFont typeface="Arial" charset="0"/>
        <a:buChar char="•"/>
        <a:defRPr sz="1350">
          <a:solidFill>
            <a:schemeClr val="tx2"/>
          </a:solidFill>
          <a:latin typeface="+mn-lt"/>
        </a:defRPr>
      </a:lvl2pPr>
      <a:lvl3pPr marL="267057" indent="-130324" algn="l" defTabSz="684735" rtl="0" eaLnBrk="0" fontAlgn="base" hangingPunct="0">
        <a:spcBef>
          <a:spcPct val="0"/>
        </a:spcBef>
        <a:spcAft>
          <a:spcPts val="202"/>
        </a:spcAft>
        <a:buFont typeface="Arial" charset="0"/>
        <a:buChar char="‒"/>
        <a:defRPr sz="1350">
          <a:solidFill>
            <a:schemeClr val="tx2"/>
          </a:solidFill>
          <a:latin typeface="+mn-lt"/>
        </a:defRPr>
      </a:lvl3pPr>
      <a:lvl4pPr marL="403790" indent="-135665" algn="l" defTabSz="684735" rtl="0" eaLnBrk="0" fontAlgn="base" hangingPunct="0">
        <a:spcBef>
          <a:spcPct val="0"/>
        </a:spcBef>
        <a:spcAft>
          <a:spcPts val="404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33047" indent="-128188" algn="l" defTabSz="684735" rtl="0" eaLnBrk="0" fontAlgn="base" hangingPunct="0">
        <a:spcBef>
          <a:spcPct val="0"/>
        </a:spcBef>
        <a:spcAft>
          <a:spcPts val="404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40820" indent="-129112" algn="l" defTabSz="685034" rtl="0" eaLnBrk="1" fontAlgn="base" hangingPunct="1">
        <a:spcBef>
          <a:spcPct val="0"/>
        </a:spcBef>
        <a:spcAft>
          <a:spcPts val="404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48127" indent="-129112" algn="l" defTabSz="685034" rtl="0" eaLnBrk="1" fontAlgn="base" hangingPunct="1">
        <a:spcBef>
          <a:spcPct val="0"/>
        </a:spcBef>
        <a:spcAft>
          <a:spcPts val="404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55430" indent="-129112" algn="l" defTabSz="685034" rtl="0" eaLnBrk="1" fontAlgn="base" hangingPunct="1">
        <a:spcBef>
          <a:spcPct val="0"/>
        </a:spcBef>
        <a:spcAft>
          <a:spcPts val="404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62734" indent="-129112" algn="l" defTabSz="685034" rtl="0" eaLnBrk="1" fontAlgn="base" hangingPunct="1">
        <a:spcBef>
          <a:spcPct val="0"/>
        </a:spcBef>
        <a:spcAft>
          <a:spcPts val="404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7305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14612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1915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29219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36524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43830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134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58439" algn="l" defTabSz="614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8059" y="6554110"/>
            <a:ext cx="2313056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/>
            <a:endParaRPr lang="en-US" sz="530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2291" name="Title Placeholder 1"/>
          <p:cNvSpPr>
            <a:spLocks noGrp="1"/>
          </p:cNvSpPr>
          <p:nvPr>
            <p:ph type="title"/>
          </p:nvPr>
        </p:nvSpPr>
        <p:spPr bwMode="auto">
          <a:xfrm>
            <a:off x="408362" y="350115"/>
            <a:ext cx="8422522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4" y="6554110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32E88536-648D-4B64-B6E7-189914892D7F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6554110"/>
            <a:ext cx="43173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endParaRPr lang="en-US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536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46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2pPr>
      <a:lvl3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3pPr>
      <a:lvl4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4pPr>
      <a:lvl5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5pPr>
      <a:lvl6pPr marL="30216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6pPr>
      <a:lvl7pPr marL="60433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7pPr>
      <a:lvl8pPr marL="906502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8pPr>
      <a:lvl9pPr marL="1208668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9pPr>
    </p:titleStyle>
    <p:bodyStyle>
      <a:lvl1pPr marL="252856" indent="-252856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defRPr sz="1323">
          <a:solidFill>
            <a:schemeClr val="tx2"/>
          </a:solidFill>
          <a:latin typeface="+mn-lt"/>
          <a:ea typeface="+mn-ea"/>
          <a:cs typeface="+mn-cs"/>
        </a:defRPr>
      </a:lvl1pPr>
      <a:lvl2pPr marL="134297" indent="-134297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•"/>
        <a:defRPr sz="1323">
          <a:solidFill>
            <a:schemeClr val="tx2"/>
          </a:solidFill>
          <a:latin typeface="+mn-lt"/>
        </a:defRPr>
      </a:lvl2pPr>
      <a:lvl3pPr marL="263348" indent="-129052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‒"/>
        <a:defRPr sz="1323">
          <a:solidFill>
            <a:schemeClr val="tx2"/>
          </a:solidFill>
          <a:latin typeface="+mn-lt"/>
        </a:defRPr>
      </a:lvl3pPr>
      <a:lvl4pPr marL="397644" indent="-134297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24597" indent="-126953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2676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2893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31097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33264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1pPr>
      <a:lvl2pPr marL="30216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2pPr>
      <a:lvl3pPr marL="60433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3pPr>
      <a:lvl4pPr marL="906502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4pPr>
      <a:lvl5pPr marL="1208668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5pPr>
      <a:lvl6pPr marL="1510835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6pPr>
      <a:lvl7pPr marL="1813004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7pPr>
      <a:lvl8pPr marL="211517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8pPr>
      <a:lvl9pPr marL="2417336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8059" y="6554110"/>
            <a:ext cx="2313056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/>
            <a:endParaRPr lang="en-US" sz="530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2291" name="Title Placeholder 1"/>
          <p:cNvSpPr>
            <a:spLocks noGrp="1"/>
          </p:cNvSpPr>
          <p:nvPr>
            <p:ph type="title"/>
          </p:nvPr>
        </p:nvSpPr>
        <p:spPr bwMode="auto">
          <a:xfrm>
            <a:off x="408362" y="350115"/>
            <a:ext cx="8422522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4" y="6554110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32E88536-648D-4B64-B6E7-189914892D7F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6554110"/>
            <a:ext cx="43173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endParaRPr lang="en-US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952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  <p:sldLayoutId id="2147484304" r:id="rId12"/>
    <p:sldLayoutId id="2147484305" r:id="rId13"/>
    <p:sldLayoutId id="2147484306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2pPr>
      <a:lvl3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3pPr>
      <a:lvl4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4pPr>
      <a:lvl5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5pPr>
      <a:lvl6pPr marL="30216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6pPr>
      <a:lvl7pPr marL="60433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7pPr>
      <a:lvl8pPr marL="906502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8pPr>
      <a:lvl9pPr marL="1208668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9pPr>
    </p:titleStyle>
    <p:bodyStyle>
      <a:lvl1pPr marL="252856" indent="-252856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defRPr sz="1323">
          <a:solidFill>
            <a:schemeClr val="tx2"/>
          </a:solidFill>
          <a:latin typeface="+mn-lt"/>
          <a:ea typeface="+mn-ea"/>
          <a:cs typeface="+mn-cs"/>
        </a:defRPr>
      </a:lvl1pPr>
      <a:lvl2pPr marL="134297" indent="-134297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•"/>
        <a:defRPr sz="1323">
          <a:solidFill>
            <a:schemeClr val="tx2"/>
          </a:solidFill>
          <a:latin typeface="+mn-lt"/>
        </a:defRPr>
      </a:lvl2pPr>
      <a:lvl3pPr marL="263348" indent="-129052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‒"/>
        <a:defRPr sz="1323">
          <a:solidFill>
            <a:schemeClr val="tx2"/>
          </a:solidFill>
          <a:latin typeface="+mn-lt"/>
        </a:defRPr>
      </a:lvl3pPr>
      <a:lvl4pPr marL="397644" indent="-134297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24597" indent="-126953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2676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2893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31097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33264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1pPr>
      <a:lvl2pPr marL="30216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2pPr>
      <a:lvl3pPr marL="60433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3pPr>
      <a:lvl4pPr marL="906502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4pPr>
      <a:lvl5pPr marL="1208668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5pPr>
      <a:lvl6pPr marL="1510835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6pPr>
      <a:lvl7pPr marL="1813004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7pPr>
      <a:lvl8pPr marL="211517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8pPr>
      <a:lvl9pPr marL="2417336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8059" y="6554110"/>
            <a:ext cx="2313056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/>
            <a:endParaRPr lang="en-US" sz="530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2291" name="Title Placeholder 1"/>
          <p:cNvSpPr>
            <a:spLocks noGrp="1"/>
          </p:cNvSpPr>
          <p:nvPr>
            <p:ph type="title"/>
          </p:nvPr>
        </p:nvSpPr>
        <p:spPr bwMode="auto">
          <a:xfrm>
            <a:off x="408362" y="350115"/>
            <a:ext cx="8422522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4" y="6554110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32E88536-648D-4B64-B6E7-189914892D7F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6554110"/>
            <a:ext cx="43173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endParaRPr lang="en-US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590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0" r:id="rId3"/>
    <p:sldLayoutId id="2147484311" r:id="rId4"/>
    <p:sldLayoutId id="2147484312" r:id="rId5"/>
    <p:sldLayoutId id="2147484313" r:id="rId6"/>
    <p:sldLayoutId id="2147484314" r:id="rId7"/>
    <p:sldLayoutId id="2147484315" r:id="rId8"/>
    <p:sldLayoutId id="2147484316" r:id="rId9"/>
    <p:sldLayoutId id="2147484317" r:id="rId10"/>
    <p:sldLayoutId id="2147484318" r:id="rId11"/>
    <p:sldLayoutId id="2147484319" r:id="rId12"/>
    <p:sldLayoutId id="2147484320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2pPr>
      <a:lvl3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3pPr>
      <a:lvl4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4pPr>
      <a:lvl5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5pPr>
      <a:lvl6pPr marL="30216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6pPr>
      <a:lvl7pPr marL="60433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7pPr>
      <a:lvl8pPr marL="906502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8pPr>
      <a:lvl9pPr marL="1208668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9pPr>
    </p:titleStyle>
    <p:bodyStyle>
      <a:lvl1pPr marL="252856" indent="-252856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defRPr sz="1323">
          <a:solidFill>
            <a:schemeClr val="tx2"/>
          </a:solidFill>
          <a:latin typeface="+mn-lt"/>
          <a:ea typeface="+mn-ea"/>
          <a:cs typeface="+mn-cs"/>
        </a:defRPr>
      </a:lvl1pPr>
      <a:lvl2pPr marL="134297" indent="-134297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•"/>
        <a:defRPr sz="1323">
          <a:solidFill>
            <a:schemeClr val="tx2"/>
          </a:solidFill>
          <a:latin typeface="+mn-lt"/>
        </a:defRPr>
      </a:lvl2pPr>
      <a:lvl3pPr marL="263348" indent="-129052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‒"/>
        <a:defRPr sz="1323">
          <a:solidFill>
            <a:schemeClr val="tx2"/>
          </a:solidFill>
          <a:latin typeface="+mn-lt"/>
        </a:defRPr>
      </a:lvl3pPr>
      <a:lvl4pPr marL="397644" indent="-134297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24597" indent="-126953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2676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2893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31097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33264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1pPr>
      <a:lvl2pPr marL="30216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2pPr>
      <a:lvl3pPr marL="60433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3pPr>
      <a:lvl4pPr marL="906502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4pPr>
      <a:lvl5pPr marL="1208668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5pPr>
      <a:lvl6pPr marL="1510835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6pPr>
      <a:lvl7pPr marL="1813004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7pPr>
      <a:lvl8pPr marL="211517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8pPr>
      <a:lvl9pPr marL="2417336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58777"/>
            <a:ext cx="83915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1" y="1308102"/>
            <a:ext cx="8394700" cy="50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6161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5pPr>
      <a:lvl6pPr marL="342900" algn="l" rtl="0" fontAlgn="base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6pPr>
      <a:lvl7pPr marL="685800" algn="l" rtl="0" fontAlgn="base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7pPr>
      <a:lvl8pPr marL="1028700" algn="l" rtl="0" fontAlgn="base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8pPr>
      <a:lvl9pPr marL="1371600" algn="l" rtl="0" fontAlgn="base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Verdana" pitchFamily="34" charset="0"/>
        </a:defRPr>
      </a:lvl9pPr>
    </p:titleStyle>
    <p:bodyStyle>
      <a:lvl1pPr marL="142875" indent="-142875" algn="l" rtl="0" eaLnBrk="0" fontAlgn="base" hangingPunct="0">
        <a:lnSpc>
          <a:spcPts val="1650"/>
        </a:lnSpc>
        <a:spcBef>
          <a:spcPct val="0"/>
        </a:spcBef>
        <a:spcAft>
          <a:spcPct val="37000"/>
        </a:spcAft>
        <a:buChar char="•"/>
        <a:tabLst>
          <a:tab pos="4286250" algn="l"/>
        </a:tabLst>
        <a:defRPr sz="1650">
          <a:solidFill>
            <a:schemeClr val="bg1"/>
          </a:solidFill>
          <a:latin typeface="+mn-lt"/>
          <a:ea typeface="+mn-ea"/>
          <a:cs typeface="+mn-cs"/>
        </a:defRPr>
      </a:lvl1pPr>
      <a:lvl2pPr marL="286941" indent="-142875" algn="l" rtl="0" eaLnBrk="0" fontAlgn="base" hangingPunct="0">
        <a:lnSpc>
          <a:spcPts val="1650"/>
        </a:lnSpc>
        <a:spcBef>
          <a:spcPct val="0"/>
        </a:spcBef>
        <a:spcAft>
          <a:spcPct val="36000"/>
        </a:spcAft>
        <a:buChar char="–"/>
        <a:tabLst>
          <a:tab pos="4286250" algn="l"/>
        </a:tabLst>
        <a:defRPr sz="1650">
          <a:solidFill>
            <a:schemeClr val="bg1"/>
          </a:solidFill>
          <a:latin typeface="+mn-lt"/>
        </a:defRPr>
      </a:lvl2pPr>
      <a:lvl3pPr marL="431006" indent="-142875" algn="l" rtl="0" eaLnBrk="0" fontAlgn="base" hangingPunct="0">
        <a:lnSpc>
          <a:spcPts val="1500"/>
        </a:lnSpc>
        <a:spcBef>
          <a:spcPct val="0"/>
        </a:spcBef>
        <a:spcAft>
          <a:spcPct val="30000"/>
        </a:spcAft>
        <a:buChar char="–"/>
        <a:tabLst>
          <a:tab pos="4286250" algn="l"/>
        </a:tabLst>
        <a:defRPr sz="1500">
          <a:solidFill>
            <a:schemeClr val="bg1"/>
          </a:solidFill>
          <a:latin typeface="+mn-lt"/>
        </a:defRPr>
      </a:lvl3pPr>
      <a:lvl4pPr marL="578644" indent="-146447" algn="l" rtl="0" eaLnBrk="0" fontAlgn="base" hangingPunct="0">
        <a:lnSpc>
          <a:spcPts val="1350"/>
        </a:lnSpc>
        <a:spcBef>
          <a:spcPct val="0"/>
        </a:spcBef>
        <a:spcAft>
          <a:spcPct val="28000"/>
        </a:spcAft>
        <a:buChar char="–"/>
        <a:tabLst>
          <a:tab pos="4286250" algn="l"/>
        </a:tabLst>
        <a:defRPr>
          <a:solidFill>
            <a:schemeClr val="bg1"/>
          </a:solidFill>
          <a:latin typeface="+mn-lt"/>
        </a:defRPr>
      </a:lvl4pPr>
      <a:lvl5pPr marL="720329" indent="-140494" algn="l" rtl="0" eaLnBrk="0" fontAlgn="base" hangingPunct="0">
        <a:lnSpc>
          <a:spcPts val="1200"/>
        </a:lnSpc>
        <a:spcBef>
          <a:spcPct val="0"/>
        </a:spcBef>
        <a:spcAft>
          <a:spcPct val="0"/>
        </a:spcAft>
        <a:buChar char="–"/>
        <a:tabLst>
          <a:tab pos="4286250" algn="l"/>
        </a:tabLst>
        <a:defRPr sz="900">
          <a:solidFill>
            <a:schemeClr val="tx1"/>
          </a:solidFill>
          <a:latin typeface="+mn-lt"/>
        </a:defRPr>
      </a:lvl5pPr>
      <a:lvl6pPr marL="1063229" indent="-140494" algn="l" rtl="0" fontAlgn="base">
        <a:lnSpc>
          <a:spcPts val="1200"/>
        </a:lnSpc>
        <a:spcBef>
          <a:spcPct val="0"/>
        </a:spcBef>
        <a:spcAft>
          <a:spcPct val="0"/>
        </a:spcAft>
        <a:buChar char="–"/>
        <a:tabLst>
          <a:tab pos="4286250" algn="l"/>
        </a:tabLst>
        <a:defRPr sz="900">
          <a:solidFill>
            <a:schemeClr val="tx1"/>
          </a:solidFill>
          <a:latin typeface="+mn-lt"/>
        </a:defRPr>
      </a:lvl6pPr>
      <a:lvl7pPr marL="1406129" indent="-140494" algn="l" rtl="0" fontAlgn="base">
        <a:lnSpc>
          <a:spcPts val="1200"/>
        </a:lnSpc>
        <a:spcBef>
          <a:spcPct val="0"/>
        </a:spcBef>
        <a:spcAft>
          <a:spcPct val="0"/>
        </a:spcAft>
        <a:buChar char="–"/>
        <a:tabLst>
          <a:tab pos="4286250" algn="l"/>
        </a:tabLst>
        <a:defRPr sz="900">
          <a:solidFill>
            <a:schemeClr val="tx1"/>
          </a:solidFill>
          <a:latin typeface="+mn-lt"/>
        </a:defRPr>
      </a:lvl7pPr>
      <a:lvl8pPr marL="1749029" indent="-140494" algn="l" rtl="0" fontAlgn="base">
        <a:lnSpc>
          <a:spcPts val="1200"/>
        </a:lnSpc>
        <a:spcBef>
          <a:spcPct val="0"/>
        </a:spcBef>
        <a:spcAft>
          <a:spcPct val="0"/>
        </a:spcAft>
        <a:buChar char="–"/>
        <a:tabLst>
          <a:tab pos="4286250" algn="l"/>
        </a:tabLst>
        <a:defRPr sz="900">
          <a:solidFill>
            <a:schemeClr val="tx1"/>
          </a:solidFill>
          <a:latin typeface="+mn-lt"/>
        </a:defRPr>
      </a:lvl8pPr>
      <a:lvl9pPr marL="2091929" indent="-140494" algn="l" rtl="0" fontAlgn="base">
        <a:lnSpc>
          <a:spcPts val="1200"/>
        </a:lnSpc>
        <a:spcBef>
          <a:spcPct val="0"/>
        </a:spcBef>
        <a:spcAft>
          <a:spcPct val="0"/>
        </a:spcAft>
        <a:buChar char="–"/>
        <a:tabLst>
          <a:tab pos="4286250" algn="l"/>
        </a:tabLst>
        <a:defRPr sz="9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08357" y="350113"/>
            <a:ext cx="8422522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 smtClean="0"/>
              <a:t>Click to edit Master text styles</a:t>
            </a:r>
          </a:p>
          <a:p>
            <a:pPr lvl="1"/>
            <a:r>
              <a:rPr lang="en-US" altLang="nl-NL" smtClean="0"/>
              <a:t>Second level</a:t>
            </a:r>
          </a:p>
          <a:p>
            <a:pPr lvl="2"/>
            <a:r>
              <a:rPr lang="en-US" altLang="nl-NL" smtClean="0"/>
              <a:t>Third level</a:t>
            </a:r>
          </a:p>
          <a:p>
            <a:pPr lvl="3"/>
            <a:r>
              <a:rPr lang="en-US" altLang="nl-NL" smtClean="0"/>
              <a:t>Fourth level</a:t>
            </a:r>
          </a:p>
          <a:p>
            <a:pPr lvl="4"/>
            <a:r>
              <a:rPr lang="en-US" altLang="nl-NL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1" y="6554102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059"/>
              </a:lnSpc>
              <a:defRPr sz="882" b="1">
                <a:solidFill>
                  <a:schemeClr val="tx2"/>
                </a:solidFill>
              </a:defRPr>
            </a:lvl1pPr>
          </a:lstStyle>
          <a:p>
            <a:pPr eaLnBrk="1" hangingPunct="1"/>
            <a:fld id="{A38CE7D0-6A3F-43E0-AA54-8714951B5FD9}" type="slidenum">
              <a:rPr lang="en-US" altLang="nl-NL" smtClean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1" hangingPunct="1"/>
              <a:t>‹#›</a:t>
            </a:fld>
            <a:endParaRPr lang="en-US" altLang="nl-NL" smtClean="0">
              <a:solidFill>
                <a:srgbClr val="0027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84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  <p:sldLayoutId id="2147484361" r:id="rId12"/>
    <p:sldLayoutId id="2147484362" r:id="rId13"/>
    <p:sldLayoutId id="2147484363" r:id="rId14"/>
    <p:sldLayoutId id="2147484364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7716" rtl="0" eaLnBrk="0" fontAlgn="base" hangingPunct="0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7716" rtl="0" eaLnBrk="0" fontAlgn="base" hangingPunct="0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2pPr>
      <a:lvl3pPr algn="l" defTabSz="897716" rtl="0" eaLnBrk="0" fontAlgn="base" hangingPunct="0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3pPr>
      <a:lvl4pPr algn="l" defTabSz="897716" rtl="0" eaLnBrk="0" fontAlgn="base" hangingPunct="0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4pPr>
      <a:lvl5pPr algn="l" defTabSz="897716" rtl="0" eaLnBrk="0" fontAlgn="base" hangingPunct="0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5pPr>
      <a:lvl6pPr marL="402889" algn="l" defTabSz="898108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6pPr>
      <a:lvl7pPr marL="805782" algn="l" defTabSz="898108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7pPr>
      <a:lvl8pPr marL="1208669" algn="l" defTabSz="898108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8pPr>
      <a:lvl9pPr marL="1611557" algn="l" defTabSz="898108" rtl="0" eaLnBrk="1" fontAlgn="base" hangingPunct="1">
        <a:lnSpc>
          <a:spcPts val="2999"/>
        </a:lnSpc>
        <a:spcBef>
          <a:spcPct val="0"/>
        </a:spcBef>
        <a:spcAft>
          <a:spcPct val="0"/>
        </a:spcAft>
        <a:defRPr sz="2206" b="1">
          <a:solidFill>
            <a:schemeClr val="tx2"/>
          </a:solidFill>
          <a:latin typeface="Arial" charset="0"/>
        </a:defRPr>
      </a:lvl9pPr>
    </p:titleStyle>
    <p:bodyStyle>
      <a:lvl1pPr marL="336118" indent="-336118" algn="l" defTabSz="897716" rtl="0" eaLnBrk="0" fontAlgn="base" hangingPunct="0">
        <a:spcBef>
          <a:spcPct val="0"/>
        </a:spcBef>
        <a:spcAft>
          <a:spcPts val="265"/>
        </a:spcAft>
        <a:buFont typeface="Arial" panose="020B0604020202020204" pitchFamily="34" charset="0"/>
        <a:defRPr sz="1764">
          <a:solidFill>
            <a:schemeClr val="tx2"/>
          </a:solidFill>
          <a:latin typeface="+mn-lt"/>
          <a:ea typeface="+mn-ea"/>
          <a:cs typeface="+mn-cs"/>
        </a:defRPr>
      </a:lvl1pPr>
      <a:lvl2pPr marL="177863" indent="-177863" algn="l" defTabSz="897716" rtl="0" eaLnBrk="0" fontAlgn="base" hangingPunct="0">
        <a:spcBef>
          <a:spcPct val="0"/>
        </a:spcBef>
        <a:spcAft>
          <a:spcPts val="265"/>
        </a:spcAft>
        <a:buFont typeface="Arial" panose="020B0604020202020204" pitchFamily="34" charset="0"/>
        <a:buChar char="•"/>
        <a:defRPr sz="1764">
          <a:solidFill>
            <a:schemeClr val="tx2"/>
          </a:solidFill>
          <a:latin typeface="+mn-lt"/>
        </a:defRPr>
      </a:lvl2pPr>
      <a:lvl3pPr marL="350123" indent="-170860" algn="l" defTabSz="897716" rtl="0" eaLnBrk="0" fontAlgn="base" hangingPunct="0">
        <a:spcBef>
          <a:spcPct val="0"/>
        </a:spcBef>
        <a:spcAft>
          <a:spcPts val="265"/>
        </a:spcAft>
        <a:buFont typeface="Arial" panose="020B0604020202020204" pitchFamily="34" charset="0"/>
        <a:buChar char="‒"/>
        <a:defRPr sz="1764">
          <a:solidFill>
            <a:schemeClr val="tx2"/>
          </a:solidFill>
          <a:latin typeface="+mn-lt"/>
        </a:defRPr>
      </a:lvl3pPr>
      <a:lvl4pPr marL="529386" indent="-177863" algn="l" defTabSz="897716" rtl="0" eaLnBrk="0" fontAlgn="base" hangingPunct="0">
        <a:spcBef>
          <a:spcPct val="0"/>
        </a:spcBef>
        <a:spcAft>
          <a:spcPts val="529"/>
        </a:spcAft>
        <a:buFont typeface="Arial" panose="020B0604020202020204" pitchFamily="34" charset="0"/>
        <a:buChar char="•"/>
        <a:defRPr>
          <a:solidFill>
            <a:schemeClr val="tx2"/>
          </a:solidFill>
          <a:latin typeface="+mn-lt"/>
        </a:defRPr>
      </a:lvl4pPr>
      <a:lvl5pPr marL="698846" indent="-168059" algn="l" defTabSz="897716" rtl="0" eaLnBrk="0" fontAlgn="base" hangingPunct="0">
        <a:spcBef>
          <a:spcPct val="0"/>
        </a:spcBef>
        <a:spcAft>
          <a:spcPts val="529"/>
        </a:spcAft>
        <a:buFont typeface="Arial" panose="020B0604020202020204" pitchFamily="34" charset="0"/>
        <a:buChar char="‒"/>
        <a:defRPr>
          <a:solidFill>
            <a:schemeClr val="tx2"/>
          </a:solidFill>
          <a:latin typeface="+mn-lt"/>
        </a:defRPr>
      </a:lvl5pPr>
      <a:lvl6pPr marL="1102349" indent="-169271" algn="l" defTabSz="898108" rtl="0" eaLnBrk="1" fontAlgn="base" hangingPunct="1">
        <a:spcBef>
          <a:spcPct val="0"/>
        </a:spcBef>
        <a:spcAft>
          <a:spcPts val="529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505242" indent="-169271" algn="l" defTabSz="898108" rtl="0" eaLnBrk="1" fontAlgn="base" hangingPunct="1">
        <a:spcBef>
          <a:spcPct val="0"/>
        </a:spcBef>
        <a:spcAft>
          <a:spcPts val="529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908129" indent="-169271" algn="l" defTabSz="898108" rtl="0" eaLnBrk="1" fontAlgn="base" hangingPunct="1">
        <a:spcBef>
          <a:spcPct val="0"/>
        </a:spcBef>
        <a:spcAft>
          <a:spcPts val="529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2311018" indent="-169271" algn="l" defTabSz="898108" rtl="0" eaLnBrk="1" fontAlgn="base" hangingPunct="1">
        <a:spcBef>
          <a:spcPct val="0"/>
        </a:spcBef>
        <a:spcAft>
          <a:spcPts val="529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1pPr>
      <a:lvl2pPr marL="402889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2pPr>
      <a:lvl3pPr marL="805782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3pPr>
      <a:lvl4pPr marL="1208669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611557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014447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417338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2820226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223115" algn="l" defTabSz="805782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58775"/>
            <a:ext cx="83915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308100"/>
            <a:ext cx="8394700" cy="50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3648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463" r:id="rId12"/>
  </p:sldLayoutIdLst>
  <p:transition>
    <p:fade/>
  </p:transition>
  <p:hf hdr="0" ftr="0" dt="0"/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9pPr>
    </p:titleStyle>
    <p:bodyStyle>
      <a:lvl1pPr marL="190500" indent="-190500" algn="l" rtl="0" eaLnBrk="0" fontAlgn="base" hangingPunct="0">
        <a:lnSpc>
          <a:spcPts val="22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2200">
          <a:solidFill>
            <a:schemeClr val="bg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ts val="22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2200">
          <a:solidFill>
            <a:schemeClr val="bg1"/>
          </a:solidFill>
          <a:latin typeface="+mn-lt"/>
        </a:defRPr>
      </a:lvl2pPr>
      <a:lvl3pPr marL="574675" indent="-190500" algn="l" rtl="0" eaLnBrk="0" fontAlgn="base" hangingPunct="0">
        <a:lnSpc>
          <a:spcPts val="2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3pPr>
      <a:lvl4pPr marL="771525" indent="-195263" algn="l" rtl="0" eaLnBrk="0" fontAlgn="base" hangingPunct="0">
        <a:lnSpc>
          <a:spcPts val="18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2000">
          <a:solidFill>
            <a:schemeClr val="bg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8059" y="6554110"/>
            <a:ext cx="2313056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/>
            <a:endParaRPr lang="en-US" sz="530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2291" name="Title Placeholder 1"/>
          <p:cNvSpPr>
            <a:spLocks noGrp="1"/>
          </p:cNvSpPr>
          <p:nvPr>
            <p:ph type="title"/>
          </p:nvPr>
        </p:nvSpPr>
        <p:spPr bwMode="auto">
          <a:xfrm>
            <a:off x="408362" y="350115"/>
            <a:ext cx="8422522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5471" y="1190382"/>
            <a:ext cx="8422522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574" y="6554110"/>
            <a:ext cx="2828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fld id="{32E88536-648D-4B64-B6E7-189914892D7F}" type="slidenum">
              <a:rPr lang="en-US">
                <a:solidFill>
                  <a:srgbClr val="002776"/>
                </a:solidFill>
                <a:latin typeface="Arial" charset="0"/>
                <a:cs typeface="Arial" charset="0"/>
              </a:rPr>
              <a:pPr eaLnBrk="1" hangingPunct="1">
                <a:defRPr/>
              </a:pPr>
              <a:t>‹#›</a:t>
            </a:fld>
            <a:endParaRPr lang="en-US" dirty="0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981" y="6554110"/>
            <a:ext cx="4317319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794"/>
              </a:lnSpc>
              <a:defRPr sz="662" smtClean="0">
                <a:solidFill>
                  <a:schemeClr val="tx2"/>
                </a:solidFill>
              </a:defRPr>
            </a:lvl1pPr>
          </a:lstStyle>
          <a:p>
            <a:pPr eaLnBrk="1" hangingPunct="1">
              <a:defRPr/>
            </a:pPr>
            <a:endParaRPr lang="en-US">
              <a:solidFill>
                <a:srgbClr val="002776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 userDrawn="1"/>
        </p:nvSpPr>
        <p:spPr>
          <a:xfrm>
            <a:off x="8185150" y="6511925"/>
            <a:ext cx="792163" cy="179388"/>
          </a:xfrm>
          <a:prstGeom prst="rect">
            <a:avLst/>
          </a:prstGeom>
          <a:ln/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B328441-53AB-49F0-9010-BDEDDD18253A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‹#›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17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8" r:id="rId1"/>
    <p:sldLayoutId id="2147484379" r:id="rId2"/>
    <p:sldLayoutId id="2147484380" r:id="rId3"/>
    <p:sldLayoutId id="2147484381" r:id="rId4"/>
    <p:sldLayoutId id="2147484382" r:id="rId5"/>
    <p:sldLayoutId id="2147484383" r:id="rId6"/>
    <p:sldLayoutId id="2147484384" r:id="rId7"/>
    <p:sldLayoutId id="2147484385" r:id="rId8"/>
    <p:sldLayoutId id="2147484386" r:id="rId9"/>
    <p:sldLayoutId id="2147484387" r:id="rId10"/>
    <p:sldLayoutId id="2147484388" r:id="rId11"/>
    <p:sldLayoutId id="2147484389" r:id="rId12"/>
    <p:sldLayoutId id="2147484390" r:id="rId13"/>
    <p:sldLayoutId id="2147484391" r:id="rId14"/>
    <p:sldLayoutId id="2147484392" r:id="rId15"/>
    <p:sldLayoutId id="2147484393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2pPr>
      <a:lvl3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3pPr>
      <a:lvl4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4pPr>
      <a:lvl5pPr algn="l" defTabSz="673581" rtl="0" eaLnBrk="0" fontAlgn="base" hangingPunct="0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5pPr>
      <a:lvl6pPr marL="30216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6pPr>
      <a:lvl7pPr marL="604337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7pPr>
      <a:lvl8pPr marL="906502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8pPr>
      <a:lvl9pPr marL="1208668" algn="l" defTabSz="673581" rtl="0" eaLnBrk="1" fontAlgn="base" hangingPunct="1">
        <a:lnSpc>
          <a:spcPts val="2249"/>
        </a:lnSpc>
        <a:spcBef>
          <a:spcPct val="0"/>
        </a:spcBef>
        <a:spcAft>
          <a:spcPct val="0"/>
        </a:spcAft>
        <a:defRPr sz="1655" b="1">
          <a:solidFill>
            <a:schemeClr val="tx2"/>
          </a:solidFill>
          <a:latin typeface="Arial" charset="0"/>
        </a:defRPr>
      </a:lvl9pPr>
    </p:titleStyle>
    <p:bodyStyle>
      <a:lvl1pPr marL="252856" indent="-252856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defRPr sz="1323">
          <a:solidFill>
            <a:schemeClr val="tx2"/>
          </a:solidFill>
          <a:latin typeface="+mn-lt"/>
          <a:ea typeface="+mn-ea"/>
          <a:cs typeface="+mn-cs"/>
        </a:defRPr>
      </a:lvl1pPr>
      <a:lvl2pPr marL="134297" indent="-134297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•"/>
        <a:defRPr sz="1323">
          <a:solidFill>
            <a:schemeClr val="tx2"/>
          </a:solidFill>
          <a:latin typeface="+mn-lt"/>
        </a:defRPr>
      </a:lvl2pPr>
      <a:lvl3pPr marL="263348" indent="-129052" algn="l" defTabSz="673581" rtl="0" eaLnBrk="0" fontAlgn="base" hangingPunct="0">
        <a:spcBef>
          <a:spcPct val="0"/>
        </a:spcBef>
        <a:spcAft>
          <a:spcPts val="199"/>
        </a:spcAft>
        <a:buFont typeface="Arial" charset="0"/>
        <a:buChar char="‒"/>
        <a:defRPr sz="1323">
          <a:solidFill>
            <a:schemeClr val="tx2"/>
          </a:solidFill>
          <a:latin typeface="+mn-lt"/>
        </a:defRPr>
      </a:lvl3pPr>
      <a:lvl4pPr marL="397644" indent="-134297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524597" indent="-126953" algn="l" defTabSz="673581" rtl="0" eaLnBrk="0" fontAlgn="base" hangingPunct="0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82676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128932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431097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1733264" indent="-126953" algn="l" defTabSz="673581" rtl="0" eaLnBrk="1" fontAlgn="base" hangingPunct="1">
        <a:spcBef>
          <a:spcPct val="0"/>
        </a:spcBef>
        <a:spcAft>
          <a:spcPts val="397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1pPr>
      <a:lvl2pPr marL="30216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2pPr>
      <a:lvl3pPr marL="604337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3pPr>
      <a:lvl4pPr marL="906502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4pPr>
      <a:lvl5pPr marL="1208668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5pPr>
      <a:lvl6pPr marL="1510835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6pPr>
      <a:lvl7pPr marL="1813004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7pPr>
      <a:lvl8pPr marL="2115170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8pPr>
      <a:lvl9pPr marL="2417336" algn="l" defTabSz="604337" rtl="0" eaLnBrk="1" latinLnBrk="0" hangingPunct="1">
        <a:defRPr sz="11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6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6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35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5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85800" y="1981200"/>
            <a:ext cx="7772400" cy="1219201"/>
          </a:xfrm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eaLnBrk="1" hangingPunct="1"/>
            <a:r>
              <a:rPr lang="nl-NL" dirty="0">
                <a:solidFill>
                  <a:srgbClr val="C00000"/>
                </a:solidFill>
              </a:rPr>
              <a:t>Accounting for Assets and Liabilities</a:t>
            </a:r>
            <a:endParaRPr lang="en-US" dirty="0" smtClean="0">
              <a:solidFill>
                <a:srgbClr val="C00000"/>
              </a:solidFill>
            </a:endParaRPr>
          </a:p>
        </p:txBody>
      </p:sp>
      <p:sp>
        <p:nvSpPr>
          <p:cNvPr id="409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1600200"/>
          </a:xfrm>
        </p:spPr>
        <p:txBody>
          <a:bodyPr/>
          <a:lstStyle/>
          <a:p>
            <a:r>
              <a:rPr lang="en-GB" altLang="en-GB" sz="1800" dirty="0" err="1">
                <a:solidFill>
                  <a:srgbClr val="000066"/>
                </a:solidFill>
              </a:rPr>
              <a:t>Prof.Dr</a:t>
            </a:r>
            <a:r>
              <a:rPr lang="en-GB" altLang="en-GB" sz="1800" dirty="0">
                <a:solidFill>
                  <a:srgbClr val="000066"/>
                </a:solidFill>
              </a:rPr>
              <a:t>. </a:t>
            </a:r>
            <a:r>
              <a:rPr lang="en-GB" altLang="en-GB" sz="1800" dirty="0" err="1">
                <a:solidFill>
                  <a:srgbClr val="000066"/>
                </a:solidFill>
              </a:rPr>
              <a:t>Frans</a:t>
            </a:r>
            <a:r>
              <a:rPr lang="en-GB" altLang="en-GB" sz="1800" dirty="0">
                <a:solidFill>
                  <a:srgbClr val="000066"/>
                </a:solidFill>
              </a:rPr>
              <a:t> van Schaik</a:t>
            </a:r>
          </a:p>
          <a:p>
            <a:r>
              <a:rPr lang="en-GB" altLang="en-GB" sz="1800" dirty="0">
                <a:solidFill>
                  <a:srgbClr val="000066"/>
                </a:solidFill>
              </a:rPr>
              <a:t>(email: schaikf@euronet.nl)</a:t>
            </a:r>
          </a:p>
          <a:p>
            <a:r>
              <a:rPr lang="en-GB" altLang="en-GB" sz="1800" dirty="0" smtClean="0">
                <a:solidFill>
                  <a:srgbClr val="000066"/>
                </a:solidFill>
              </a:rPr>
              <a:t>Professor </a:t>
            </a:r>
            <a:r>
              <a:rPr lang="en-GB" altLang="en-GB" sz="1800" dirty="0">
                <a:solidFill>
                  <a:srgbClr val="000066"/>
                </a:solidFill>
              </a:rPr>
              <a:t>University of </a:t>
            </a:r>
            <a:r>
              <a:rPr lang="en-GB" altLang="en-GB" sz="1800" dirty="0" smtClean="0">
                <a:solidFill>
                  <a:srgbClr val="000066"/>
                </a:solidFill>
              </a:rPr>
              <a:t>Amsterdam</a:t>
            </a:r>
            <a:endParaRPr lang="en-GB" altLang="en-GB" sz="1800" dirty="0">
              <a:solidFill>
                <a:srgbClr val="000066"/>
              </a:solidFill>
            </a:endParaRPr>
          </a:p>
          <a:p>
            <a:r>
              <a:rPr lang="en-GB" altLang="en-GB" sz="1800" dirty="0">
                <a:solidFill>
                  <a:srgbClr val="000066"/>
                </a:solidFill>
              </a:rPr>
              <a:t>Member IPSAS Board Consultative Advisory Group (IPSASB CAG)</a:t>
            </a:r>
          </a:p>
          <a:p>
            <a:pPr eaLnBrk="1" hangingPunct="1">
              <a:lnSpc>
                <a:spcPct val="90000"/>
              </a:lnSpc>
            </a:pPr>
            <a:endParaRPr lang="en-US" sz="2200" b="0" dirty="0" smtClean="0">
              <a:solidFill>
                <a:srgbClr val="000066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en-US" sz="1800" dirty="0" smtClean="0">
                <a:solidFill>
                  <a:srgbClr val="996600"/>
                </a:solidFill>
              </a:rPr>
              <a:t>Fiscal Affairs Department, IMF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dirty="0" smtClean="0">
                <a:solidFill>
                  <a:srgbClr val="996600"/>
                </a:solidFill>
              </a:rPr>
              <a:t>29</a:t>
            </a:r>
            <a:r>
              <a:rPr lang="en-US" sz="1800" baseline="30000" dirty="0" smtClean="0">
                <a:solidFill>
                  <a:srgbClr val="996600"/>
                </a:solidFill>
              </a:rPr>
              <a:t>th</a:t>
            </a:r>
            <a:r>
              <a:rPr lang="en-US" sz="1800" dirty="0" smtClean="0">
                <a:solidFill>
                  <a:srgbClr val="996600"/>
                </a:solidFill>
              </a:rPr>
              <a:t> August, 2016, Tehran, Iran</a:t>
            </a:r>
            <a:r>
              <a:rPr lang="en-US" sz="1800" b="0" dirty="0" smtClean="0">
                <a:solidFill>
                  <a:srgbClr val="996600"/>
                </a:solidFill>
              </a:rPr>
              <a:t>.</a:t>
            </a:r>
            <a:r>
              <a:rPr lang="en-US" sz="2000" b="0" dirty="0" smtClean="0">
                <a:solidFill>
                  <a:srgbClr val="9966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143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03122056"/>
              </p:ext>
            </p:extLst>
          </p:nvPr>
        </p:nvGraphicFramePr>
        <p:xfrm>
          <a:off x="1044838" y="1901435"/>
          <a:ext cx="6987354" cy="3642132"/>
        </p:xfrm>
        <a:graphic>
          <a:graphicData uri="http://schemas.openxmlformats.org/drawingml/2006/table">
            <a:tbl>
              <a:tblPr/>
              <a:tblGrid>
                <a:gridCol w="3493677"/>
                <a:gridCol w="3493677"/>
              </a:tblGrid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81%</a:t>
                      </a:r>
                      <a:endParaRPr lang="en-US" sz="2000" b="1" dirty="0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فرانسه </a:t>
                      </a:r>
                      <a:endParaRPr lang="en-US" sz="2000" b="1" dirty="0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34%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زلاندنو 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25%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نگلستان 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36%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ستراليا 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31%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يالات متحده </a:t>
                      </a:r>
                      <a:endParaRPr lang="en-US" sz="2000" b="1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22%</a:t>
                      </a:r>
                      <a:endParaRPr lang="en-US" sz="2000" b="1" dirty="0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كانادا </a:t>
                      </a:r>
                      <a:endParaRPr lang="en-US" sz="2000" b="1" dirty="0"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 bwMode="auto">
          <a:xfrm>
            <a:off x="439359" y="354094"/>
            <a:ext cx="8391525" cy="1190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5pPr>
            <a:lvl6pPr marL="3429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6pPr>
            <a:lvl7pPr marL="6858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7pPr>
            <a:lvl8pPr marL="10287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8pPr>
            <a:lvl9pPr marL="13716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fa-IR" kern="0" dirty="0" smtClean="0">
                <a:solidFill>
                  <a:srgbClr val="0C2678"/>
                </a:solidFill>
                <a:latin typeface="Verdana"/>
                <a:cs typeface="B Titr" pitchFamily="2" charset="-78"/>
              </a:rPr>
              <a:t>دارایی های ثابت به عنوان بخشی از درآمدهای دولت:</a:t>
            </a:r>
          </a:p>
          <a:p>
            <a:pPr algn="r">
              <a:lnSpc>
                <a:spcPct val="150000"/>
              </a:lnSpc>
            </a:pPr>
            <a:r>
              <a:rPr lang="fa-IR" kern="0" dirty="0" smtClean="0">
                <a:solidFill>
                  <a:srgbClr val="0C2678"/>
                </a:solidFill>
                <a:latin typeface="Verdana"/>
                <a:cs typeface="B Titr" pitchFamily="2" charset="-78"/>
              </a:rPr>
              <a:t>دلیل این تفاوت زیاد در چیست؟</a:t>
            </a:r>
            <a:endParaRPr lang="en-US" kern="0" dirty="0" smtClean="0">
              <a:solidFill>
                <a:srgbClr val="0C2678"/>
              </a:solidFill>
              <a:latin typeface="Verdana"/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18576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altLang="en-US" smtClean="0"/>
              <a:t>IPSAS 17 is applicable in accounting for property, plant and equipment: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68300" y="1441450"/>
            <a:ext cx="8394700" cy="500856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2000" dirty="0" smtClean="0"/>
              <a:t>Including </a:t>
            </a:r>
          </a:p>
          <a:p>
            <a:pPr marL="873125" indent="-342900">
              <a:defRPr/>
            </a:pPr>
            <a:r>
              <a:rPr lang="en-US" dirty="0" smtClean="0"/>
              <a:t>Specialist military equipment </a:t>
            </a:r>
          </a:p>
          <a:p>
            <a:pPr marL="873125" indent="-342900">
              <a:defRPr/>
            </a:pPr>
            <a:r>
              <a:rPr lang="en-US" dirty="0" smtClean="0"/>
              <a:t>Infrastructure assets</a:t>
            </a:r>
          </a:p>
          <a:p>
            <a:pPr marL="873125" indent="-342900">
              <a:defRPr/>
            </a:pPr>
            <a:r>
              <a:rPr lang="en-US" smtClean="0"/>
              <a:t>Social housing</a:t>
            </a:r>
            <a:endParaRPr lang="en-US" dirty="0" smtClean="0"/>
          </a:p>
          <a:p>
            <a:pPr marL="0" indent="0">
              <a:buNone/>
              <a:defRPr/>
            </a:pPr>
            <a:r>
              <a:rPr lang="en-US" sz="2000" smtClean="0"/>
              <a:t>Excluding</a:t>
            </a:r>
          </a:p>
          <a:p>
            <a:pPr marL="873125" lvl="0" indent="-342900">
              <a:defRPr/>
            </a:pPr>
            <a:r>
              <a:rPr lang="en-US" smtClean="0">
                <a:ea typeface="+mn-ea"/>
                <a:cs typeface="+mn-cs"/>
              </a:rPr>
              <a:t>Items treated by other standards, eg biological assets, investment property</a:t>
            </a:r>
          </a:p>
          <a:p>
            <a:pPr marL="873125" lvl="0" indent="-342900">
              <a:defRPr/>
            </a:pPr>
            <a:r>
              <a:rPr lang="en-US" smtClean="0">
                <a:ea typeface="+mn-ea"/>
                <a:cs typeface="+mn-cs"/>
              </a:rPr>
              <a:t>Heritage </a:t>
            </a:r>
            <a:r>
              <a:rPr lang="en-US" dirty="0">
                <a:ea typeface="+mn-ea"/>
                <a:cs typeface="+mn-cs"/>
              </a:rPr>
              <a:t>assets (recognized on a voluntary basis)</a:t>
            </a:r>
          </a:p>
        </p:txBody>
      </p:sp>
    </p:spTree>
    <p:extLst>
      <p:ext uri="{BB962C8B-B14F-4D97-AF65-F5344CB8AC3E}">
        <p14:creationId xmlns:p14="http://schemas.microsoft.com/office/powerpoint/2010/main" val="533651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6498" y="222850"/>
            <a:ext cx="8971006" cy="619125"/>
          </a:xfrm>
        </p:spPr>
        <p:txBody>
          <a:bodyPr/>
          <a:lstStyle/>
          <a:p>
            <a:pPr algn="r" rtl="1"/>
            <a:r>
              <a:rPr lang="fa-IR" sz="2400" b="1" dirty="0" smtClean="0">
                <a:cs typeface="B Titr" pitchFamily="2" charset="-78"/>
              </a:rPr>
              <a:t>استاندارد شماره  17 </a:t>
            </a:r>
            <a:r>
              <a:rPr lang="en-US" sz="2400" b="1" dirty="0" smtClean="0">
                <a:cs typeface="B Titr" pitchFamily="2" charset="-78"/>
              </a:rPr>
              <a:t>IPSAS</a:t>
            </a:r>
            <a:r>
              <a:rPr lang="fa-IR" sz="2400" b="1" dirty="0" smtClean="0">
                <a:cs typeface="B Titr" pitchFamily="2" charset="-78"/>
              </a:rPr>
              <a:t> درخصوص حسابداري اموال ، ماشين آلات و تجهيزات </a:t>
            </a:r>
            <a:endParaRPr lang="en-US" altLang="en-US" sz="2400" dirty="0" smtClean="0">
              <a:cs typeface="B Titr" pitchFamily="2" charset="-78"/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68300" y="1441450"/>
            <a:ext cx="8394700" cy="5008563"/>
          </a:xfrm>
        </p:spPr>
        <p:txBody>
          <a:bodyPr/>
          <a:lstStyle/>
          <a:p>
            <a:pPr algn="r" rtl="1">
              <a:lnSpc>
                <a:spcPct val="150000"/>
              </a:lnSpc>
            </a:pPr>
            <a:r>
              <a:rPr lang="fa-IR" sz="2000" b="1" dirty="0" smtClean="0">
                <a:cs typeface="B Titr" pitchFamily="2" charset="-78"/>
              </a:rPr>
              <a:t>شامل </a:t>
            </a:r>
            <a:r>
              <a:rPr lang="fa-IR" sz="2000" b="1" dirty="0">
                <a:cs typeface="B Titr" pitchFamily="2" charset="-78"/>
              </a:rPr>
              <a:t>: </a:t>
            </a:r>
            <a:endParaRPr lang="en-US" sz="2000" b="1" dirty="0">
              <a:cs typeface="B Titr" pitchFamily="2" charset="-78"/>
            </a:endParaRPr>
          </a:p>
          <a:p>
            <a:pPr algn="r" rtl="1">
              <a:lnSpc>
                <a:spcPct val="150000"/>
              </a:lnSpc>
            </a:pPr>
            <a:r>
              <a:rPr lang="fa-IR" sz="2000" b="1" dirty="0" smtClean="0">
                <a:cs typeface="B Titr" pitchFamily="2" charset="-78"/>
              </a:rPr>
              <a:t>تجهيزات </a:t>
            </a:r>
            <a:r>
              <a:rPr lang="fa-IR" sz="2000" b="1" dirty="0">
                <a:cs typeface="B Titr" pitchFamily="2" charset="-78"/>
              </a:rPr>
              <a:t>نظامي </a:t>
            </a:r>
            <a:endParaRPr lang="en-US" sz="2000" b="1" dirty="0">
              <a:cs typeface="B Titr" pitchFamily="2" charset="-78"/>
            </a:endParaRPr>
          </a:p>
          <a:p>
            <a:pPr algn="r" rtl="1">
              <a:lnSpc>
                <a:spcPct val="150000"/>
              </a:lnSpc>
            </a:pPr>
            <a:r>
              <a:rPr lang="fa-IR" sz="2000" b="1" dirty="0" smtClean="0">
                <a:cs typeface="B Titr" pitchFamily="2" charset="-78"/>
              </a:rPr>
              <a:t>دارائيهاي </a:t>
            </a:r>
            <a:r>
              <a:rPr lang="fa-IR" sz="2000" b="1" dirty="0">
                <a:cs typeface="B Titr" pitchFamily="2" charset="-78"/>
              </a:rPr>
              <a:t>زيربنايي </a:t>
            </a:r>
            <a:endParaRPr lang="en-US" sz="2000" b="1" dirty="0">
              <a:cs typeface="B Titr" pitchFamily="2" charset="-78"/>
            </a:endParaRPr>
          </a:p>
          <a:p>
            <a:pPr algn="r" rtl="1">
              <a:lnSpc>
                <a:spcPct val="150000"/>
              </a:lnSpc>
            </a:pPr>
            <a:r>
              <a:rPr lang="fa-IR" sz="2000" b="1" dirty="0" smtClean="0">
                <a:cs typeface="B Titr" pitchFamily="2" charset="-78"/>
              </a:rPr>
              <a:t>مسكن </a:t>
            </a:r>
            <a:r>
              <a:rPr lang="fa-IR" sz="2000" b="1" dirty="0">
                <a:cs typeface="B Titr" pitchFamily="2" charset="-78"/>
              </a:rPr>
              <a:t>اجتماعي </a:t>
            </a:r>
            <a:endParaRPr lang="en-US" sz="2000" b="1" dirty="0">
              <a:cs typeface="B Titr" pitchFamily="2" charset="-78"/>
            </a:endParaRPr>
          </a:p>
          <a:p>
            <a:pPr algn="r" rtl="1">
              <a:lnSpc>
                <a:spcPct val="150000"/>
              </a:lnSpc>
            </a:pPr>
            <a:r>
              <a:rPr lang="fa-IR" sz="2000" b="1" dirty="0">
                <a:cs typeface="B Titr" pitchFamily="2" charset="-78"/>
              </a:rPr>
              <a:t>به استثناء موارد زير : </a:t>
            </a:r>
            <a:endParaRPr lang="en-US" sz="2000" b="1" dirty="0">
              <a:cs typeface="B Titr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000" b="1" dirty="0">
                <a:cs typeface="B Titr" pitchFamily="2" charset="-78"/>
              </a:rPr>
              <a:t>اقدامي كه استانداردهاي متفاوت براي آنها به كار گرفته ميشد مانند دارائيهاي </a:t>
            </a:r>
            <a:r>
              <a:rPr lang="fa-IR" sz="2000" b="1" dirty="0" smtClean="0">
                <a:cs typeface="B Titr" pitchFamily="2" charset="-78"/>
              </a:rPr>
              <a:t>بيولوژيكي</a:t>
            </a:r>
          </a:p>
          <a:p>
            <a:pPr lvl="0" algn="r" rtl="1">
              <a:lnSpc>
                <a:spcPct val="150000"/>
              </a:lnSpc>
            </a:pPr>
            <a:r>
              <a:rPr lang="fa-IR" sz="2000" dirty="0" smtClean="0">
                <a:cs typeface="B Titr" pitchFamily="2" charset="-78"/>
              </a:rPr>
              <a:t>دارائيهاي </a:t>
            </a:r>
            <a:r>
              <a:rPr lang="fa-IR" sz="2000" dirty="0">
                <a:cs typeface="B Titr" pitchFamily="2" charset="-78"/>
              </a:rPr>
              <a:t>مربوط به ميراث گذشته (شناسايي به صورت </a:t>
            </a:r>
            <a:r>
              <a:rPr lang="fa-IR" sz="2000" dirty="0" smtClean="0">
                <a:cs typeface="B Titr" pitchFamily="2" charset="-78"/>
              </a:rPr>
              <a:t>اختياري)</a:t>
            </a:r>
            <a:endParaRPr lang="en-US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14329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nl-NL" altLang="en-US" smtClean="0"/>
              <a:t>Recognition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8775" y="1441450"/>
            <a:ext cx="8335963" cy="5008563"/>
          </a:xfrm>
        </p:spPr>
        <p:txBody>
          <a:bodyPr/>
          <a:lstStyle/>
          <a:p>
            <a:r>
              <a:rPr lang="en-US" altLang="en-US" dirty="0" smtClean="0"/>
              <a:t>Specialist </a:t>
            </a:r>
            <a:r>
              <a:rPr lang="en-US" altLang="en-US" smtClean="0"/>
              <a:t>military equipment: recognition required</a:t>
            </a:r>
            <a:endParaRPr lang="en-US" altLang="en-US" dirty="0" smtClean="0"/>
          </a:p>
          <a:p>
            <a:r>
              <a:rPr lang="en-US" altLang="en-US" smtClean="0"/>
              <a:t>Heritage assets: recognition allowed, but not required</a:t>
            </a:r>
          </a:p>
          <a:p>
            <a:r>
              <a:rPr lang="en-US" altLang="en-US" smtClean="0"/>
              <a:t>Asset shall be recognized on the balance sheet of the entity controlling the asset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056627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algn="r" rtl="1"/>
            <a:r>
              <a:rPr lang="fa-IR" sz="3600" b="1" dirty="0" smtClean="0">
                <a:cs typeface="B Titr" pitchFamily="2" charset="-78"/>
              </a:rPr>
              <a:t>شناسايي </a:t>
            </a:r>
            <a:r>
              <a:rPr lang="fa-IR" sz="3600" b="1" dirty="0">
                <a:cs typeface="B Titr" pitchFamily="2" charset="-78"/>
              </a:rPr>
              <a:t>: </a:t>
            </a:r>
            <a:endParaRPr lang="en-US" sz="3600" b="1" dirty="0">
              <a:cs typeface="B Titr" pitchFamily="2" charset="-78"/>
            </a:endParaRP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83059" y="1441450"/>
            <a:ext cx="8311679" cy="3414755"/>
          </a:xfrm>
        </p:spPr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3200" b="1" dirty="0">
                <a:cs typeface="B Lotus" pitchFamily="2" charset="-78"/>
              </a:rPr>
              <a:t>تجهيزات خاص نظامي : شناسايي الزامي است </a:t>
            </a:r>
            <a:endParaRPr lang="en-US" sz="32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b="1" dirty="0">
                <a:cs typeface="B Lotus" pitchFamily="2" charset="-78"/>
              </a:rPr>
              <a:t>دارائيهاي ميراث گذشته : شناسايي مجاز ليكن اجباري نيست </a:t>
            </a:r>
            <a:endParaRPr lang="en-US" sz="32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b="1" dirty="0">
                <a:cs typeface="B Lotus" pitchFamily="2" charset="-78"/>
              </a:rPr>
              <a:t>دارائيها بايد در ترازنامه دستگاه كنترل كننده دارايي باشد .</a:t>
            </a:r>
            <a:endParaRPr lang="en-US" sz="3200" b="1" dirty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18367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altLang="en-US" dirty="0" smtClean="0"/>
              <a:t>Component accounting</a:t>
            </a:r>
            <a:endParaRPr lang="nl-NL" altLang="en-US" dirty="0" smtClean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49250" y="1441450"/>
            <a:ext cx="8335963" cy="5008563"/>
          </a:xfrm>
        </p:spPr>
        <p:txBody>
          <a:bodyPr/>
          <a:lstStyle/>
          <a:p>
            <a:r>
              <a:rPr lang="en-GB" altLang="en-US" dirty="0" smtClean="0"/>
              <a:t>Allocation of </a:t>
            </a:r>
            <a:r>
              <a:rPr lang="en-GB" altLang="en-US" smtClean="0"/>
              <a:t>the capital expenditure to its significant components</a:t>
            </a:r>
          </a:p>
          <a:p>
            <a:r>
              <a:rPr lang="en-GB" altLang="en-US" smtClean="0"/>
              <a:t>Separate </a:t>
            </a:r>
            <a:r>
              <a:rPr lang="en-GB" altLang="en-US" dirty="0" smtClean="0"/>
              <a:t>depreciation </a:t>
            </a:r>
            <a:r>
              <a:rPr lang="en-GB" altLang="en-US" smtClean="0"/>
              <a:t>of components </a:t>
            </a:r>
            <a:r>
              <a:rPr lang="en-GB" altLang="en-US" dirty="0" smtClean="0"/>
              <a:t>with different </a:t>
            </a:r>
            <a:r>
              <a:rPr lang="en-GB" altLang="en-US" smtClean="0"/>
              <a:t>useful life</a:t>
            </a:r>
          </a:p>
          <a:p>
            <a:r>
              <a:rPr lang="en-US" smtClean="0"/>
              <a:t>Example</a:t>
            </a:r>
            <a:r>
              <a:rPr lang="en-US"/>
              <a:t>: depreciate </a:t>
            </a:r>
            <a:r>
              <a:rPr lang="en-US" smtClean="0"/>
              <a:t>components of a road separately:</a:t>
            </a:r>
            <a:br>
              <a:rPr lang="en-US" smtClean="0"/>
            </a:br>
            <a:r>
              <a:rPr lang="en-US" smtClean="0"/>
              <a:t>pavement, curbs, </a:t>
            </a:r>
            <a:r>
              <a:rPr lang="en-US"/>
              <a:t>footpaths, bridges and </a:t>
            </a:r>
            <a:r>
              <a:rPr lang="en-US" smtClean="0"/>
              <a:t>lighting</a:t>
            </a:r>
            <a:endParaRPr lang="en-US"/>
          </a:p>
          <a:p>
            <a:endParaRPr lang="en-GB" altLang="en-US" smtClean="0"/>
          </a:p>
        </p:txBody>
      </p:sp>
    </p:spTree>
    <p:extLst>
      <p:ext uri="{BB962C8B-B14F-4D97-AF65-F5344CB8AC3E}">
        <p14:creationId xmlns:p14="http://schemas.microsoft.com/office/powerpoint/2010/main" val="470951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حسابداري اجزاء :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49250" y="1441450"/>
            <a:ext cx="8335963" cy="5008563"/>
          </a:xfrm>
        </p:spPr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تخصيص هزينه سرمايه اي به اجزاء مهم </a:t>
            </a:r>
            <a:endParaRPr lang="en-US" sz="28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جدا نمودن استهلاك اجزاء كه داراي عمر مفيد متفاوت هستند .</a:t>
            </a:r>
            <a:endParaRPr lang="en-US" sz="28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مثال : اجزاء مربوط به جاده ها را جداگانه مستهلك </a:t>
            </a:r>
            <a:r>
              <a:rPr lang="fa-IR" sz="2800" b="1" dirty="0" smtClean="0">
                <a:cs typeface="B Lotus" pitchFamily="2" charset="-78"/>
              </a:rPr>
              <a:t>می نمايد؛پياده روها، </a:t>
            </a:r>
            <a:r>
              <a:rPr lang="fa-IR" sz="2800" b="1" dirty="0">
                <a:cs typeface="B Lotus" pitchFamily="2" charset="-78"/>
              </a:rPr>
              <a:t>مسيرهاي پياده رو ، پل ها و چراغ روشنايي </a:t>
            </a:r>
            <a:endParaRPr lang="en-US" sz="2800" b="1" dirty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6290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en-US" smtClean="0"/>
              <a:t>Measurement at recognition</a:t>
            </a:r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At cost </a:t>
            </a:r>
          </a:p>
          <a:p>
            <a:pPr lvl="1"/>
            <a:r>
              <a:rPr lang="en-US" altLang="en-US" dirty="0" smtClean="0"/>
              <a:t>If the asset is acquired through a non-exchange transaction (i.e. no or nominal consideration), its </a:t>
            </a:r>
            <a:r>
              <a:rPr lang="en-US" altLang="en-US" smtClean="0"/>
              <a:t>cost is its </a:t>
            </a:r>
            <a:r>
              <a:rPr lang="en-US" altLang="en-US" dirty="0" smtClean="0"/>
              <a:t>fair value at the date of acquisition</a:t>
            </a:r>
          </a:p>
          <a:p>
            <a:r>
              <a:rPr lang="en-US" altLang="en-US" dirty="0" smtClean="0"/>
              <a:t>Elements of costs</a:t>
            </a:r>
          </a:p>
          <a:p>
            <a:pPr lvl="1"/>
            <a:r>
              <a:rPr lang="en-GB" altLang="en-US" smtClean="0"/>
              <a:t>Purchase price and import duties</a:t>
            </a:r>
            <a:endParaRPr lang="en-GB" altLang="en-US" dirty="0" smtClean="0"/>
          </a:p>
          <a:p>
            <a:pPr lvl="1"/>
            <a:r>
              <a:rPr lang="en-GB" altLang="en-US" dirty="0" smtClean="0"/>
              <a:t>Directly </a:t>
            </a:r>
            <a:r>
              <a:rPr lang="en-GB" altLang="en-US" smtClean="0"/>
              <a:t>attributable costs</a:t>
            </a:r>
          </a:p>
          <a:p>
            <a:pPr lvl="1"/>
            <a:r>
              <a:rPr lang="en-GB" altLang="en-US" smtClean="0"/>
              <a:t>Estimate </a:t>
            </a:r>
            <a:r>
              <a:rPr lang="en-GB" altLang="en-US" dirty="0" smtClean="0"/>
              <a:t>of the costs of dismantling and removing the item and </a:t>
            </a:r>
            <a:r>
              <a:rPr lang="en-GB" altLang="en-US" smtClean="0"/>
              <a:t>restoring its site</a:t>
            </a:r>
            <a:endParaRPr lang="en-US" altLang="en-US" dirty="0" smtClean="0"/>
          </a:p>
          <a:p>
            <a:endParaRPr lang="nl-NL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548528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4"/>
          <p:cNvSpPr>
            <a:spLocks noGrp="1"/>
          </p:cNvSpPr>
          <p:nvPr>
            <p:ph type="title"/>
          </p:nvPr>
        </p:nvSpPr>
        <p:spPr>
          <a:xfrm>
            <a:off x="368300" y="148282"/>
            <a:ext cx="8391525" cy="679622"/>
          </a:xfrm>
        </p:spPr>
        <p:txBody>
          <a:bodyPr/>
          <a:lstStyle/>
          <a:p>
            <a:pPr algn="r" rtl="1"/>
            <a:r>
              <a:rPr lang="fa-IR" sz="3200" b="1" dirty="0">
                <a:cs typeface="B Titr" pitchFamily="2" charset="-78"/>
              </a:rPr>
              <a:t>ارزش گذاري در زمان شناسايي </a:t>
            </a:r>
            <a:endParaRPr lang="en-US" sz="3200" b="1" dirty="0">
              <a:cs typeface="B Titr" pitchFamily="2" charset="-78"/>
            </a:endParaRPr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343587" y="1122748"/>
            <a:ext cx="8394700" cy="5008563"/>
          </a:xfrm>
        </p:spPr>
        <p:txBody>
          <a:bodyPr/>
          <a:lstStyle/>
          <a:p>
            <a:pPr lvl="0" algn="r" rtl="1"/>
            <a:r>
              <a:rPr lang="fa-IR" b="1" dirty="0"/>
              <a:t>قيمت تمام شده </a:t>
            </a:r>
            <a:endParaRPr lang="en-US" b="1" dirty="0"/>
          </a:p>
          <a:p>
            <a:pPr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( يعني بدون پرداخت عوض و يا ما به ازاء ) ، قيمت تمام شده آن ارزش عادلانه بازار در زمان ابتياع است . </a:t>
            </a:r>
            <a:endParaRPr lang="fa-IR" sz="2400" b="1" dirty="0" smtClean="0">
              <a:cs typeface="B Lotus" pitchFamily="2" charset="-78"/>
            </a:endParaRPr>
          </a:p>
          <a:p>
            <a:pPr algn="r" rtl="1">
              <a:lnSpc>
                <a:spcPct val="150000"/>
              </a:lnSpc>
            </a:pPr>
            <a:endParaRPr lang="en-US" sz="2400" b="1" dirty="0">
              <a:cs typeface="B Lotus" pitchFamily="2" charset="-78"/>
            </a:endParaRPr>
          </a:p>
          <a:p>
            <a:pPr algn="r" rtl="1"/>
            <a:r>
              <a:rPr lang="fa-IR" b="1" dirty="0"/>
              <a:t>عناصر تشكيل دهنده قيمت تمام شده : </a:t>
            </a:r>
          </a:p>
          <a:p>
            <a:pPr lvl="1" algn="r" rtl="1"/>
            <a:r>
              <a:rPr lang="fa-IR" sz="2400" b="1" dirty="0" smtClean="0"/>
              <a:t>قيمت </a:t>
            </a:r>
            <a:r>
              <a:rPr lang="fa-IR" sz="2400" b="1" dirty="0"/>
              <a:t>خريد </a:t>
            </a:r>
            <a:r>
              <a:rPr lang="fa-IR" sz="2400" b="1" dirty="0" smtClean="0"/>
              <a:t>وعوارض </a:t>
            </a:r>
            <a:r>
              <a:rPr lang="fa-IR" sz="2400" b="1" dirty="0"/>
              <a:t>گمركي </a:t>
            </a:r>
            <a:endParaRPr lang="fa-IR" sz="2400" b="1" dirty="0" smtClean="0"/>
          </a:p>
          <a:p>
            <a:pPr lvl="1" algn="r" rtl="1"/>
            <a:r>
              <a:rPr lang="fa-IR" sz="2400" b="1" dirty="0" smtClean="0"/>
              <a:t>هزينه </a:t>
            </a:r>
            <a:r>
              <a:rPr lang="fa-IR" sz="2400" b="1" dirty="0"/>
              <a:t>ها كه مستقيماً مربوط به آن </a:t>
            </a:r>
            <a:r>
              <a:rPr lang="fa-IR" sz="2400" b="1" dirty="0" smtClean="0"/>
              <a:t>ميشود</a:t>
            </a:r>
          </a:p>
          <a:p>
            <a:pPr lvl="1" algn="r" rtl="1"/>
            <a:r>
              <a:rPr lang="fa-IR" sz="2400" b="1" dirty="0" smtClean="0"/>
              <a:t>برآورد </a:t>
            </a:r>
            <a:r>
              <a:rPr lang="fa-IR" sz="2400" b="1" dirty="0"/>
              <a:t>هزينه هاي پياده كردن و برداشتن و قراردادن در محل </a:t>
            </a:r>
            <a:endParaRPr lang="en-US" sz="1800" b="1" dirty="0"/>
          </a:p>
          <a:p>
            <a:endParaRPr lang="nl-NL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97485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nl-NL" altLang="en-US"/>
              <a:t>Measurement </a:t>
            </a:r>
            <a:r>
              <a:rPr lang="en-US" altLang="en-US"/>
              <a:t>subsequent to initial recognition</a:t>
            </a:r>
            <a:endParaRPr lang="nl-NL" altLang="en-US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68300" y="1431925"/>
            <a:ext cx="8597900" cy="5008563"/>
          </a:xfrm>
        </p:spPr>
        <p:txBody>
          <a:bodyPr/>
          <a:lstStyle/>
          <a:p>
            <a:pPr marL="355600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b="1"/>
              <a:t>Cost model</a:t>
            </a:r>
            <a:r>
              <a:rPr lang="en-US"/>
              <a:t>: the asset is carried at cost less accumulated depreciation and impairment losses; or</a:t>
            </a:r>
          </a:p>
          <a:p>
            <a:pPr marL="355600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b="1"/>
              <a:t>Revaluation </a:t>
            </a:r>
            <a:r>
              <a:rPr lang="en-US" sz="2200" b="1"/>
              <a:t>model</a:t>
            </a:r>
            <a:r>
              <a:rPr lang="en-US" sz="2200">
                <a:ea typeface="+mn-ea"/>
                <a:cs typeface="+mn-cs"/>
              </a:rPr>
              <a:t>: the asset is carried at revalued amount less subsequent depreciation and impairment </a:t>
            </a:r>
            <a:r>
              <a:rPr lang="en-US" sz="2200" smtClean="0">
                <a:ea typeface="+mn-ea"/>
                <a:cs typeface="+mn-cs"/>
              </a:rPr>
              <a:t>losses</a:t>
            </a:r>
          </a:p>
          <a:p>
            <a:pPr marL="547688" lvl="1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smtClean="0">
                <a:ea typeface="+mn-ea"/>
                <a:cs typeface="+mn-cs"/>
              </a:rPr>
              <a:t>Revaluation </a:t>
            </a:r>
            <a:r>
              <a:rPr lang="en-US">
                <a:ea typeface="+mn-ea"/>
                <a:cs typeface="+mn-cs"/>
              </a:rPr>
              <a:t>to be made </a:t>
            </a:r>
            <a:r>
              <a:rPr lang="en-US" smtClean="0">
                <a:ea typeface="+mn-ea"/>
                <a:cs typeface="+mn-cs"/>
              </a:rPr>
              <a:t>regularly, e.g. every 3 years</a:t>
            </a:r>
            <a:endParaRPr lang="en-US">
              <a:ea typeface="+mn-ea"/>
              <a:cs typeface="+mn-cs"/>
            </a:endParaRPr>
          </a:p>
          <a:p>
            <a:pPr marL="552450" lvl="3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sz="2200">
                <a:ea typeface="+mn-ea"/>
                <a:cs typeface="+mn-cs"/>
              </a:rPr>
              <a:t>Revaluation </a:t>
            </a:r>
            <a:r>
              <a:rPr lang="en-US" sz="2200" smtClean="0">
                <a:ea typeface="+mn-ea"/>
                <a:cs typeface="+mn-cs"/>
              </a:rPr>
              <a:t>for </a:t>
            </a:r>
            <a:r>
              <a:rPr lang="en-US" sz="2200">
                <a:ea typeface="+mn-ea"/>
                <a:cs typeface="+mn-cs"/>
              </a:rPr>
              <a:t>the entire class of </a:t>
            </a:r>
            <a:r>
              <a:rPr lang="en-US" sz="2200" smtClean="0">
                <a:ea typeface="+mn-ea"/>
                <a:cs typeface="+mn-cs"/>
              </a:rPr>
              <a:t>asset, e.g. land, buildings</a:t>
            </a:r>
            <a:r>
              <a:rPr lang="en-US" sz="2200">
                <a:ea typeface="+mn-ea"/>
                <a:cs typeface="+mn-cs"/>
              </a:rPr>
              <a:t>, roads, </a:t>
            </a:r>
            <a:r>
              <a:rPr lang="en-US" sz="2200" smtClean="0">
                <a:ea typeface="+mn-ea"/>
                <a:cs typeface="+mn-cs"/>
              </a:rPr>
              <a:t>machinery</a:t>
            </a:r>
            <a:endParaRPr lang="en-US" sz="2200">
              <a:ea typeface="+mn-ea"/>
              <a:cs typeface="+mn-cs"/>
            </a:endParaRPr>
          </a:p>
          <a:p>
            <a:pPr marL="552450" lvl="3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sz="2200">
                <a:ea typeface="+mn-ea"/>
                <a:cs typeface="+mn-cs"/>
              </a:rPr>
              <a:t>Increase recognized directly in revaluation </a:t>
            </a:r>
            <a:r>
              <a:rPr lang="en-US" sz="2200" smtClean="0">
                <a:ea typeface="+mn-ea"/>
                <a:cs typeface="+mn-cs"/>
              </a:rPr>
              <a:t>surplus</a:t>
            </a:r>
          </a:p>
          <a:p>
            <a:pPr marL="552450" lvl="3" indent="-355600">
              <a:lnSpc>
                <a:spcPct val="110000"/>
              </a:lnSpc>
              <a:spcAft>
                <a:spcPct val="0"/>
              </a:spcAft>
              <a:defRPr/>
            </a:pPr>
            <a:r>
              <a:rPr lang="en-US" sz="2200" smtClean="0">
                <a:ea typeface="+mn-ea"/>
                <a:cs typeface="+mn-cs"/>
              </a:rPr>
              <a:t>Decrease </a:t>
            </a:r>
            <a:r>
              <a:rPr lang="en-US" sz="2200">
                <a:ea typeface="+mn-ea"/>
                <a:cs typeface="+mn-cs"/>
              </a:rPr>
              <a:t>recognized in statement of financial performance</a:t>
            </a:r>
          </a:p>
          <a:p>
            <a:pPr marL="1143000" lvl="2" indent="-228600">
              <a:lnSpc>
                <a:spcPct val="110000"/>
              </a:lnSpc>
              <a:spcAft>
                <a:spcPct val="0"/>
              </a:spcAft>
              <a:defRPr/>
            </a:pPr>
            <a:endParaRPr lang="en-GB" sz="22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79758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85800" y="1981200"/>
            <a:ext cx="7772400" cy="1219201"/>
          </a:xfrm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rtl="1"/>
            <a:r>
              <a:rPr lang="fa-IR" dirty="0">
                <a:solidFill>
                  <a:srgbClr val="FF0000"/>
                </a:solidFill>
              </a:rPr>
              <a:t>حسابداري دارايي ها و بدهي ها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09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1600200"/>
          </a:xfrm>
        </p:spPr>
        <p:txBody>
          <a:bodyPr/>
          <a:lstStyle/>
          <a:p>
            <a:pPr rtl="1"/>
            <a:r>
              <a:rPr lang="fa-IR" sz="2000" dirty="0"/>
              <a:t>پروفسور دكتر فرانس وان شاك </a:t>
            </a:r>
            <a:endParaRPr lang="en-US" sz="2000" dirty="0"/>
          </a:p>
          <a:p>
            <a:pPr rtl="1"/>
            <a:r>
              <a:rPr lang="fa-IR" sz="2000" dirty="0"/>
              <a:t>استاد دانشگاه آمستردام و عضو گروه مشاورين </a:t>
            </a:r>
            <a:r>
              <a:rPr lang="en-US" sz="2000" dirty="0"/>
              <a:t>IPAS</a:t>
            </a:r>
          </a:p>
          <a:p>
            <a:r>
              <a:rPr lang="en-GB" altLang="en-GB" sz="1800" dirty="0" smtClean="0">
                <a:solidFill>
                  <a:srgbClr val="000066"/>
                </a:solidFill>
              </a:rPr>
              <a:t>(</a:t>
            </a:r>
            <a:r>
              <a:rPr lang="en-GB" altLang="en-GB" sz="1800" dirty="0">
                <a:solidFill>
                  <a:srgbClr val="000066"/>
                </a:solidFill>
              </a:rPr>
              <a:t>email: schaikf@euronet.nl)</a:t>
            </a:r>
          </a:p>
          <a:p>
            <a:pPr eaLnBrk="1" hangingPunct="1">
              <a:lnSpc>
                <a:spcPct val="90000"/>
              </a:lnSpc>
            </a:pPr>
            <a:endParaRPr lang="en-US" sz="2200" b="0" dirty="0" smtClean="0">
              <a:solidFill>
                <a:srgbClr val="000066"/>
              </a:solidFill>
            </a:endParaRPr>
          </a:p>
          <a:p>
            <a:pPr rtl="1"/>
            <a:r>
              <a:rPr lang="fa-IR" sz="2400" dirty="0"/>
              <a:t>اداره امور بودجه صندوق بين المللي پول </a:t>
            </a:r>
            <a:endParaRPr lang="en-US" sz="2400" dirty="0"/>
          </a:p>
          <a:p>
            <a:pPr rtl="1"/>
            <a:r>
              <a:rPr lang="fa-IR" sz="2400" dirty="0"/>
              <a:t>29 اوت 2016  تهران – ايران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99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ارزش گذاري بعد از شناسايي اوليه :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23568" y="1037969"/>
            <a:ext cx="8842632" cy="5402520"/>
          </a:xfrm>
        </p:spPr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2400" b="1" dirty="0" smtClean="0">
                <a:cs typeface="B Titr" pitchFamily="2" charset="-78"/>
              </a:rPr>
              <a:t>مدل </a:t>
            </a:r>
            <a:r>
              <a:rPr lang="fa-IR" sz="2400" b="1" dirty="0">
                <a:cs typeface="B Titr" pitchFamily="2" charset="-78"/>
              </a:rPr>
              <a:t>قيمت  تمام شده </a:t>
            </a:r>
            <a:r>
              <a:rPr lang="fa-IR" sz="2400" b="1" dirty="0">
                <a:cs typeface="B Lotus" pitchFamily="2" charset="-78"/>
              </a:rPr>
              <a:t>: دارايي به قيمت تمام شده منهاي استهلام و زيانهاي ناشي از </a:t>
            </a:r>
            <a:r>
              <a:rPr lang="fa-IR" sz="2400" b="1" dirty="0" smtClean="0">
                <a:cs typeface="B Lotus" pitchFamily="2" charset="-78"/>
              </a:rPr>
              <a:t>خسارات </a:t>
            </a:r>
            <a:r>
              <a:rPr lang="fa-IR" sz="2400" b="1" dirty="0">
                <a:cs typeface="B Lotus" pitchFamily="2" charset="-78"/>
              </a:rPr>
              <a:t>وارده ثبت مي </a:t>
            </a:r>
            <a:r>
              <a:rPr lang="fa-IR" sz="2400" b="1" dirty="0" smtClean="0">
                <a:cs typeface="B Lotus" pitchFamily="2" charset="-78"/>
              </a:rPr>
              <a:t>گردد؛ یا </a:t>
            </a:r>
            <a:endParaRPr lang="en-US" sz="2400" b="1" dirty="0">
              <a:cs typeface="B Lotus" pitchFamily="2" charset="-78"/>
            </a:endParaRPr>
          </a:p>
          <a:p>
            <a:pPr lvl="0" algn="r" rtl="1"/>
            <a:r>
              <a:rPr lang="fa-IR" sz="2400" b="1" dirty="0">
                <a:cs typeface="B Titr" pitchFamily="2" charset="-78"/>
              </a:rPr>
              <a:t>مدل ارزش گذاري </a:t>
            </a:r>
            <a:r>
              <a:rPr lang="fa-IR" sz="2400" b="1" dirty="0" smtClean="0">
                <a:cs typeface="B Titr" pitchFamily="2" charset="-78"/>
              </a:rPr>
              <a:t>مجدد </a:t>
            </a:r>
            <a:r>
              <a:rPr lang="fa-IR" sz="2400" b="1" dirty="0">
                <a:cs typeface="B Lotus" pitchFamily="2" charset="-78"/>
              </a:rPr>
              <a:t>:  دارائي با توجه به ارزش جديد منهاي استهلاك و خسارات </a:t>
            </a:r>
            <a:r>
              <a:rPr lang="fa-IR" sz="2400" b="1" dirty="0" smtClean="0">
                <a:cs typeface="B Lotus" pitchFamily="2" charset="-78"/>
              </a:rPr>
              <a:t>وارده</a:t>
            </a:r>
          </a:p>
          <a:p>
            <a:pPr lvl="1"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ارزش گذاري مجدد </a:t>
            </a:r>
            <a:r>
              <a:rPr lang="fa-IR" sz="2400" b="1" dirty="0" smtClean="0">
                <a:cs typeface="B Lotus" pitchFamily="2" charset="-78"/>
              </a:rPr>
              <a:t>بايد </a:t>
            </a:r>
            <a:r>
              <a:rPr lang="fa-IR" sz="2400" b="1" dirty="0">
                <a:cs typeface="B Lotus" pitchFamily="2" charset="-78"/>
              </a:rPr>
              <a:t>به صورت متناوب براي مثال هر 3 سال </a:t>
            </a:r>
            <a:endParaRPr lang="fa-IR" sz="2400" b="1" dirty="0" smtClean="0">
              <a:cs typeface="B Lotus" pitchFamily="2" charset="-78"/>
            </a:endParaRPr>
          </a:p>
          <a:p>
            <a:pPr lvl="1"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ارزش گذاري </a:t>
            </a:r>
            <a:r>
              <a:rPr lang="fa-IR" sz="2400" b="1" dirty="0" smtClean="0">
                <a:cs typeface="B Lotus" pitchFamily="2" charset="-78"/>
              </a:rPr>
              <a:t>مجدد برای تمام طبقات دارایی ها برای مثال ؛ زمین، ساختمان، جاده ها</a:t>
            </a:r>
            <a:endParaRPr lang="fa-IR" sz="2400" b="1" dirty="0">
              <a:cs typeface="B Lotus" pitchFamily="2" charset="-78"/>
            </a:endParaRPr>
          </a:p>
          <a:p>
            <a:pPr lvl="1" algn="r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افزايش </a:t>
            </a:r>
            <a:r>
              <a:rPr lang="fa-IR" sz="2400" b="1" dirty="0">
                <a:cs typeface="B Lotus" pitchFamily="2" charset="-78"/>
              </a:rPr>
              <a:t>ارزش مستقيماً در حساب مازاد ارزش ثبت ميگردد </a:t>
            </a:r>
            <a:endParaRPr lang="fa-IR" sz="2400" b="1" dirty="0" smtClean="0">
              <a:cs typeface="B Lotus" pitchFamily="2" charset="-78"/>
            </a:endParaRPr>
          </a:p>
          <a:p>
            <a:pPr lvl="1" algn="r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كاهش </a:t>
            </a:r>
            <a:r>
              <a:rPr lang="fa-IR" sz="2400" b="1" dirty="0">
                <a:cs typeface="B Lotus" pitchFamily="2" charset="-78"/>
              </a:rPr>
              <a:t>ارزش در صورت عملكرد مالي ثبت مي گردد </a:t>
            </a:r>
            <a:endParaRPr lang="en-US" sz="2000" b="1" dirty="0">
              <a:cs typeface="B Lotus" pitchFamily="2" charset="-78"/>
            </a:endParaRPr>
          </a:p>
          <a:p>
            <a:pPr marL="1143000" lvl="2" indent="-228600">
              <a:lnSpc>
                <a:spcPct val="110000"/>
              </a:lnSpc>
              <a:spcAft>
                <a:spcPct val="0"/>
              </a:spcAft>
              <a:defRPr/>
            </a:pPr>
            <a:endParaRPr lang="en-GB" sz="22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692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Depreciable amount</a:t>
            </a:r>
            <a:endParaRPr lang="nl-NL" altLang="en-US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68300" y="1431925"/>
            <a:ext cx="8597900" cy="500856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ct val="0"/>
              </a:spcAft>
              <a:defRPr/>
            </a:pPr>
            <a:r>
              <a:rPr lang="en-GB" smtClean="0"/>
              <a:t>Depreciable amount = cost minus residual value</a:t>
            </a:r>
          </a:p>
          <a:p>
            <a:pPr>
              <a:lnSpc>
                <a:spcPct val="110000"/>
              </a:lnSpc>
              <a:spcAft>
                <a:spcPct val="0"/>
              </a:spcAft>
              <a:defRPr/>
            </a:pPr>
            <a:r>
              <a:rPr lang="en-GB" smtClean="0"/>
              <a:t>Depreciated on a systematic </a:t>
            </a:r>
            <a:r>
              <a:rPr lang="en-GB" dirty="0" smtClean="0"/>
              <a:t>basis </a:t>
            </a:r>
            <a:r>
              <a:rPr lang="en-GB" smtClean="0"/>
              <a:t>over useful life of asset</a:t>
            </a:r>
            <a:endParaRPr lang="en-GB"/>
          </a:p>
          <a:p>
            <a:pPr>
              <a:lnSpc>
                <a:spcPct val="110000"/>
              </a:lnSpc>
              <a:spcAft>
                <a:spcPct val="0"/>
              </a:spcAft>
              <a:defRPr/>
            </a:pPr>
            <a:r>
              <a:rPr lang="en-GB"/>
              <a:t>Residual value may be immaterial</a:t>
            </a:r>
          </a:p>
          <a:p>
            <a:pPr>
              <a:lnSpc>
                <a:spcPct val="110000"/>
              </a:lnSpc>
              <a:spcAft>
                <a:spcPct val="0"/>
              </a:spcAft>
              <a:defRPr/>
            </a:pPr>
            <a:r>
              <a:rPr lang="en-GB" smtClean="0"/>
              <a:t>Once </a:t>
            </a:r>
            <a:r>
              <a:rPr lang="en-GB"/>
              <a:t>carrying amount </a:t>
            </a:r>
            <a:r>
              <a:rPr lang="en-GB" smtClean="0"/>
              <a:t>equals residual value: depreciation </a:t>
            </a:r>
            <a:r>
              <a:rPr lang="en-GB" dirty="0"/>
              <a:t>charge </a:t>
            </a:r>
            <a:r>
              <a:rPr lang="en-GB"/>
              <a:t>is </a:t>
            </a:r>
            <a:r>
              <a:rPr lang="en-GB" smtClean="0"/>
              <a:t>zero</a:t>
            </a:r>
            <a:endParaRPr lang="en-GB" dirty="0"/>
          </a:p>
          <a:p>
            <a:pPr marL="1143000" lvl="2" indent="-228600">
              <a:lnSpc>
                <a:spcPct val="110000"/>
              </a:lnSpc>
              <a:spcAft>
                <a:spcPct val="0"/>
              </a:spcAft>
              <a:defRPr/>
            </a:pPr>
            <a:endParaRPr lang="en-GB" sz="22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35985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68300" y="556483"/>
            <a:ext cx="8391525" cy="619125"/>
          </a:xfrm>
        </p:spPr>
        <p:txBody>
          <a:bodyPr/>
          <a:lstStyle/>
          <a:p>
            <a:pPr algn="r"/>
            <a:r>
              <a:rPr lang="fa-IR" altLang="en-US" dirty="0" smtClean="0">
                <a:cs typeface="B Titr" pitchFamily="2" charset="-78"/>
              </a:rPr>
              <a:t>مبلغ استهلاک </a:t>
            </a:r>
            <a:endParaRPr lang="nl-NL" altLang="en-US" dirty="0" smtClean="0">
              <a:cs typeface="B Titr" pitchFamily="2" charset="-78"/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23568" y="1431925"/>
            <a:ext cx="8842632" cy="5008563"/>
          </a:xfrm>
        </p:spPr>
        <p:txBody>
          <a:bodyPr/>
          <a:lstStyle/>
          <a:p>
            <a:pPr algn="r" rtl="1">
              <a:lnSpc>
                <a:spcPct val="200000"/>
              </a:lnSpc>
              <a:spcAft>
                <a:spcPct val="0"/>
              </a:spcAft>
              <a:defRPr/>
            </a:pPr>
            <a:r>
              <a:rPr lang="fa-IR" b="1" dirty="0" smtClean="0">
                <a:cs typeface="B Lotus" pitchFamily="2" charset="-78"/>
              </a:rPr>
              <a:t>مبلغ </a:t>
            </a:r>
            <a:r>
              <a:rPr lang="fa-IR" b="1" dirty="0">
                <a:cs typeface="B Lotus" pitchFamily="2" charset="-78"/>
              </a:rPr>
              <a:t>استهلاك برابر است با قيمت تمام شده منهاي ارزش اسقاطي </a:t>
            </a:r>
            <a:endParaRPr lang="en-GB" b="1" dirty="0" smtClean="0">
              <a:cs typeface="B Lotus" pitchFamily="2" charset="-78"/>
            </a:endParaRPr>
          </a:p>
          <a:p>
            <a:pPr lvl="0" algn="r" rtl="1">
              <a:lnSpc>
                <a:spcPct val="200000"/>
              </a:lnSpc>
              <a:spcAft>
                <a:spcPct val="0"/>
              </a:spcAft>
              <a:defRPr/>
            </a:pPr>
            <a:r>
              <a:rPr lang="fa-IR" b="1" dirty="0" smtClean="0">
                <a:cs typeface="B Lotus" pitchFamily="2" charset="-78"/>
              </a:rPr>
              <a:t>استهلاك </a:t>
            </a:r>
            <a:r>
              <a:rPr lang="fa-IR" b="1" dirty="0">
                <a:cs typeface="B Lotus" pitchFamily="2" charset="-78"/>
              </a:rPr>
              <a:t>به صورت سيستماتيك </a:t>
            </a:r>
            <a:r>
              <a:rPr lang="fa-IR" b="1" dirty="0" smtClean="0">
                <a:cs typeface="B Lotus" pitchFamily="2" charset="-78"/>
              </a:rPr>
              <a:t>برای </a:t>
            </a:r>
            <a:r>
              <a:rPr lang="fa-IR" b="1" dirty="0">
                <a:cs typeface="B Lotus" pitchFamily="2" charset="-78"/>
              </a:rPr>
              <a:t>طول عمر مفيد </a:t>
            </a:r>
            <a:r>
              <a:rPr lang="fa-IR" b="1" dirty="0" smtClean="0">
                <a:cs typeface="B Lotus" pitchFamily="2" charset="-78"/>
              </a:rPr>
              <a:t>دارایی</a:t>
            </a:r>
            <a:endParaRPr lang="en-GB" b="1" dirty="0">
              <a:cs typeface="B Lotus" pitchFamily="2" charset="-78"/>
            </a:endParaRPr>
          </a:p>
          <a:p>
            <a:pPr lvl="0" algn="r" rtl="1">
              <a:lnSpc>
                <a:spcPct val="200000"/>
              </a:lnSpc>
              <a:spcAft>
                <a:spcPct val="0"/>
              </a:spcAft>
              <a:defRPr/>
            </a:pPr>
            <a:r>
              <a:rPr lang="fa-IR" b="1" dirty="0" smtClean="0">
                <a:cs typeface="B Lotus" pitchFamily="2" charset="-78"/>
              </a:rPr>
              <a:t>قيمت </a:t>
            </a:r>
            <a:r>
              <a:rPr lang="fa-IR" b="1" dirty="0">
                <a:cs typeface="B Lotus" pitchFamily="2" charset="-78"/>
              </a:rPr>
              <a:t>اسقاطي يافته ارزش </a:t>
            </a:r>
            <a:r>
              <a:rPr lang="fa-IR" b="1" dirty="0" smtClean="0">
                <a:cs typeface="B Lotus" pitchFamily="2" charset="-78"/>
              </a:rPr>
              <a:t>ممکن است </a:t>
            </a:r>
            <a:r>
              <a:rPr lang="fa-IR" b="1" dirty="0">
                <a:cs typeface="B Lotus" pitchFamily="2" charset="-78"/>
              </a:rPr>
              <a:t>بي اهميت باشد </a:t>
            </a:r>
            <a:endParaRPr lang="fa-IR" b="1" dirty="0" smtClean="0">
              <a:cs typeface="B Lotus" pitchFamily="2" charset="-78"/>
            </a:endParaRPr>
          </a:p>
          <a:p>
            <a:pPr algn="r" rtl="1">
              <a:lnSpc>
                <a:spcPct val="200000"/>
              </a:lnSpc>
              <a:spcAft>
                <a:spcPct val="0"/>
              </a:spcAft>
              <a:defRPr/>
            </a:pPr>
            <a:r>
              <a:rPr lang="fa-IR" b="1" dirty="0">
                <a:cs typeface="B Lotus" pitchFamily="2" charset="-78"/>
              </a:rPr>
              <a:t>زماني كه مبلغ ارزش دارايي ثبت شده در دفاتر مساوي با ارزش اسقاطي باشد هزينه استهلاك صفر است .</a:t>
            </a:r>
            <a:endParaRPr lang="en-US" b="1" dirty="0">
              <a:cs typeface="B Lotus" pitchFamily="2" charset="-78"/>
            </a:endParaRPr>
          </a:p>
          <a:p>
            <a:pPr marL="0" lvl="0" indent="0" algn="r" rtl="1">
              <a:lnSpc>
                <a:spcPct val="110000"/>
              </a:lnSpc>
              <a:spcAft>
                <a:spcPct val="0"/>
              </a:spcAft>
              <a:buNone/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7532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altLang="en-US" smtClean="0"/>
              <a:t>U</a:t>
            </a:r>
            <a:r>
              <a:rPr lang="en-GB" smtClean="0"/>
              <a:t>seful life</a:t>
            </a:r>
            <a:endParaRPr lang="nl-NL" altLang="en-US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8775" y="1479550"/>
            <a:ext cx="8597900" cy="5008563"/>
          </a:xfrm>
        </p:spPr>
        <p:txBody>
          <a:bodyPr/>
          <a:lstStyle/>
          <a:p>
            <a:pPr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The period over which an asset is expected to be available for use by an entity OR the number of production units expected to be obtained from the asset</a:t>
            </a:r>
          </a:p>
          <a:p>
            <a:pPr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Factors to consider: </a:t>
            </a:r>
          </a:p>
          <a:p>
            <a:pPr marL="1019175" indent="-228600"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Expected usage of the asset</a:t>
            </a:r>
          </a:p>
          <a:p>
            <a:pPr marL="1019175" indent="-228600"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Expected physical wear and tear</a:t>
            </a:r>
          </a:p>
          <a:p>
            <a:pPr marL="1019175" indent="-228600"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Technical or commercial obsolescence</a:t>
            </a:r>
          </a:p>
          <a:p>
            <a:pPr marL="1019175" indent="-228600">
              <a:lnSpc>
                <a:spcPct val="120000"/>
              </a:lnSpc>
              <a:spcAft>
                <a:spcPct val="0"/>
              </a:spcAft>
              <a:defRPr/>
            </a:pPr>
            <a:r>
              <a:rPr lang="en-GB" smtClean="0"/>
              <a:t>Legal limits</a:t>
            </a:r>
          </a:p>
          <a:p>
            <a:pPr marL="950913" lvl="1" indent="-228600">
              <a:lnSpc>
                <a:spcPct val="120000"/>
              </a:lnSpc>
              <a:spcAft>
                <a:spcPct val="0"/>
              </a:spcAft>
              <a:defRPr/>
            </a:pPr>
            <a:endParaRPr lang="en-GB" smtClean="0"/>
          </a:p>
          <a:p>
            <a:pPr lvl="1">
              <a:lnSpc>
                <a:spcPct val="120000"/>
              </a:lnSpc>
              <a:spcAft>
                <a:spcPct val="0"/>
              </a:spcAft>
              <a:defRPr/>
            </a:pPr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2813765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algn="r" rtl="1"/>
            <a:r>
              <a:rPr lang="fa-IR" sz="3200" b="1" dirty="0">
                <a:cs typeface="B Titr" pitchFamily="2" charset="-78"/>
              </a:rPr>
              <a:t>عمر مفيد :</a:t>
            </a:r>
            <a:endParaRPr lang="en-US" sz="3200" b="1" dirty="0">
              <a:cs typeface="B Titr" pitchFamily="2" charset="-78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8775" y="1479550"/>
            <a:ext cx="8597900" cy="5008563"/>
          </a:xfrm>
        </p:spPr>
        <p:txBody>
          <a:bodyPr/>
          <a:lstStyle/>
          <a:p>
            <a:pPr lvl="0"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 smtClean="0">
                <a:cs typeface="B Lotus" pitchFamily="2" charset="-78"/>
              </a:rPr>
              <a:t>مدت </a:t>
            </a:r>
            <a:r>
              <a:rPr lang="fa-IR" sz="2400" b="1" dirty="0">
                <a:cs typeface="B Lotus" pitchFamily="2" charset="-78"/>
              </a:rPr>
              <a:t>زماني كه </a:t>
            </a:r>
            <a:r>
              <a:rPr lang="fa-IR" sz="2400" b="1" dirty="0" smtClean="0">
                <a:cs typeface="B Lotus" pitchFamily="2" charset="-78"/>
              </a:rPr>
              <a:t>انتظار می رود يك </a:t>
            </a:r>
            <a:r>
              <a:rPr lang="fa-IR" sz="2400" b="1" dirty="0">
                <a:cs typeface="B Lotus" pitchFamily="2" charset="-78"/>
              </a:rPr>
              <a:t>دارايي براي استفاده </a:t>
            </a:r>
            <a:r>
              <a:rPr lang="fa-IR" sz="2400" b="1" dirty="0" smtClean="0">
                <a:cs typeface="B Lotus" pitchFamily="2" charset="-78"/>
              </a:rPr>
              <a:t>یک واحد دولتی در دسترس </a:t>
            </a:r>
            <a:r>
              <a:rPr lang="fa-IR" sz="2400" b="1" dirty="0">
                <a:cs typeface="B Lotus" pitchFamily="2" charset="-78"/>
              </a:rPr>
              <a:t>باشد يا تعداد </a:t>
            </a:r>
            <a:r>
              <a:rPr lang="fa-IR" sz="2400" b="1" dirty="0" smtClean="0">
                <a:cs typeface="B Lotus" pitchFamily="2" charset="-78"/>
              </a:rPr>
              <a:t>واحدهایی که توليد آنها از </a:t>
            </a:r>
            <a:r>
              <a:rPr lang="fa-IR" sz="2400" b="1" dirty="0">
                <a:cs typeface="B Lotus" pitchFamily="2" charset="-78"/>
              </a:rPr>
              <a:t>يك دارايي انتظار ميرود . </a:t>
            </a:r>
            <a:endParaRPr lang="fa-IR" sz="2400" b="1" dirty="0" smtClean="0">
              <a:cs typeface="B Lotus" pitchFamily="2" charset="-78"/>
            </a:endParaRPr>
          </a:p>
          <a:p>
            <a:pPr lvl="0" algn="r" rtl="1">
              <a:lnSpc>
                <a:spcPct val="120000"/>
              </a:lnSpc>
              <a:spcAft>
                <a:spcPct val="0"/>
              </a:spcAft>
              <a:defRPr/>
            </a:pPr>
            <a:endParaRPr lang="fa-IR" sz="2400" b="1" dirty="0" smtClean="0">
              <a:cs typeface="B Lotus" pitchFamily="2" charset="-78"/>
            </a:endParaRPr>
          </a:p>
          <a:p>
            <a:pPr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>
                <a:cs typeface="B Lotus" pitchFamily="2" charset="-78"/>
              </a:rPr>
              <a:t>عواملي كه بايد درنظر گرفته شود : </a:t>
            </a:r>
            <a:endParaRPr lang="en-US" sz="2400" b="1" dirty="0">
              <a:cs typeface="B Lotus" pitchFamily="2" charset="-78"/>
            </a:endParaRPr>
          </a:p>
          <a:p>
            <a:pPr lvl="1"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>
                <a:cs typeface="B Lotus" pitchFamily="2" charset="-78"/>
              </a:rPr>
              <a:t>استفاده مورد  انتظار از يك دارائي </a:t>
            </a:r>
          </a:p>
          <a:p>
            <a:pPr lvl="1"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 smtClean="0">
                <a:cs typeface="B Lotus" pitchFamily="2" charset="-78"/>
              </a:rPr>
              <a:t>فرسودگي </a:t>
            </a:r>
            <a:r>
              <a:rPr lang="fa-IR" sz="2400" b="1" dirty="0">
                <a:cs typeface="B Lotus" pitchFamily="2" charset="-78"/>
              </a:rPr>
              <a:t>و كهنه شدن فيزيكي مورد انتظار </a:t>
            </a:r>
            <a:endParaRPr lang="fa-IR" sz="2400" b="1" dirty="0" smtClean="0">
              <a:cs typeface="B Lotus" pitchFamily="2" charset="-78"/>
            </a:endParaRPr>
          </a:p>
          <a:p>
            <a:pPr lvl="1"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>
                <a:cs typeface="B Lotus" pitchFamily="2" charset="-78"/>
              </a:rPr>
              <a:t>كهنه شدن و از رده خارج شدن از لحاظ فني و تجاري </a:t>
            </a:r>
            <a:endParaRPr lang="en-US" sz="2400" b="1" dirty="0">
              <a:cs typeface="B Lotus" pitchFamily="2" charset="-78"/>
            </a:endParaRPr>
          </a:p>
          <a:p>
            <a:pPr lvl="1" algn="r" rtl="1">
              <a:lnSpc>
                <a:spcPct val="120000"/>
              </a:lnSpc>
              <a:spcAft>
                <a:spcPct val="0"/>
              </a:spcAft>
              <a:defRPr/>
            </a:pPr>
            <a:r>
              <a:rPr lang="fa-IR" sz="2400" b="1" dirty="0" smtClean="0">
                <a:cs typeface="B Lotus" pitchFamily="2" charset="-78"/>
              </a:rPr>
              <a:t>محدودیت های قانونی </a:t>
            </a:r>
            <a:endParaRPr lang="en-US" sz="2400" b="1" dirty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5550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nl-NL" altLang="en-US"/>
              <a:t>D</a:t>
            </a:r>
            <a:r>
              <a:rPr lang="nl-NL" altLang="en-US" smtClean="0"/>
              <a:t>epreciation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8775" y="1450975"/>
            <a:ext cx="8177213" cy="50085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Depreciation method: shall reflect </a:t>
            </a:r>
            <a:r>
              <a:rPr lang="en-GB" dirty="0" smtClean="0"/>
              <a:t>the pattern in which </a:t>
            </a:r>
            <a:r>
              <a:rPr lang="en-GB" smtClean="0"/>
              <a:t>the asset will </a:t>
            </a:r>
            <a:r>
              <a:rPr lang="en-GB" dirty="0" smtClean="0"/>
              <a:t>be consumed, e.g.</a:t>
            </a:r>
          </a:p>
          <a:p>
            <a:pPr marL="950913" lvl="1" indent="-228600">
              <a:defRPr/>
            </a:pPr>
            <a:r>
              <a:rPr lang="en-GB" dirty="0" smtClean="0"/>
              <a:t>straight-line method</a:t>
            </a:r>
          </a:p>
          <a:p>
            <a:pPr marL="950913" lvl="1" indent="-228600">
              <a:defRPr/>
            </a:pPr>
            <a:r>
              <a:rPr lang="en-GB" dirty="0" smtClean="0"/>
              <a:t>diminishing balance method</a:t>
            </a:r>
          </a:p>
          <a:p>
            <a:pPr marL="950913" lvl="1" indent="-228600">
              <a:defRPr/>
            </a:pPr>
            <a:r>
              <a:rPr lang="en-GB" dirty="0" smtClean="0"/>
              <a:t>unit of production method</a:t>
            </a:r>
          </a:p>
          <a:p>
            <a:pPr>
              <a:defRPr/>
            </a:pPr>
            <a:r>
              <a:rPr lang="en-GB" smtClean="0"/>
              <a:t>Residual </a:t>
            </a:r>
            <a:r>
              <a:rPr lang="en-GB" dirty="0" smtClean="0"/>
              <a:t>value, useful life and depreciation method to be </a:t>
            </a:r>
            <a:r>
              <a:rPr lang="en-GB" smtClean="0"/>
              <a:t>reviewed annually</a:t>
            </a:r>
          </a:p>
          <a:p>
            <a:pPr>
              <a:defRPr/>
            </a:pPr>
            <a:r>
              <a:rPr lang="en-GB" smtClean="0"/>
              <a:t>If revision: change </a:t>
            </a:r>
            <a:r>
              <a:rPr lang="en-GB" dirty="0" smtClean="0"/>
              <a:t>in accounting estimate to be </a:t>
            </a:r>
            <a:r>
              <a:rPr lang="en-GB" smtClean="0"/>
              <a:t>applied prospectively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0334813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algn="r" rtl="1"/>
            <a:r>
              <a:rPr lang="fa-IR" sz="3200" b="1" dirty="0">
                <a:cs typeface="B Titr" pitchFamily="2" charset="-78"/>
              </a:rPr>
              <a:t> </a:t>
            </a:r>
            <a:r>
              <a:rPr lang="fa-IR" sz="3200" b="1" dirty="0" smtClean="0">
                <a:cs typeface="B Titr" pitchFamily="2" charset="-78"/>
              </a:rPr>
              <a:t>استهلاك </a:t>
            </a:r>
            <a:r>
              <a:rPr lang="fa-IR" sz="3200" b="1" dirty="0">
                <a:cs typeface="B Titr" pitchFamily="2" charset="-78"/>
              </a:rPr>
              <a:t>: </a:t>
            </a:r>
            <a:endParaRPr lang="en-US" sz="3200" b="1" dirty="0">
              <a:cs typeface="B Titr" pitchFamily="2" charset="-7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8775" y="1450975"/>
            <a:ext cx="8177213" cy="5008563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Residual value, useful life and depreciation method to be reviewed annually</a:t>
            </a:r>
          </a:p>
          <a:p>
            <a:pPr>
              <a:defRPr/>
            </a:pPr>
            <a:r>
              <a:rPr lang="en-GB" dirty="0" smtClean="0"/>
              <a:t>If revision: change in accounting estimate to be applied prospectively</a:t>
            </a:r>
            <a:endParaRPr lang="fa-IR" dirty="0" smtClean="0"/>
          </a:p>
          <a:p>
            <a:pPr lvl="0" algn="r" rtl="1"/>
            <a:r>
              <a:rPr lang="fa-IR" b="1" dirty="0"/>
              <a:t>روش </a:t>
            </a:r>
            <a:r>
              <a:rPr lang="fa-IR" b="1" dirty="0" smtClean="0"/>
              <a:t>استهلاك: بايد نشان دهنده الگویی باشد که شيوه استفاده دارایی را </a:t>
            </a:r>
            <a:r>
              <a:rPr lang="fa-IR" b="1" dirty="0"/>
              <a:t>در نظر </a:t>
            </a:r>
            <a:r>
              <a:rPr lang="fa-IR" b="1" dirty="0" smtClean="0"/>
              <a:t>بگيرد؛</a:t>
            </a:r>
          </a:p>
          <a:p>
            <a:pPr lvl="1" algn="r" rtl="1"/>
            <a:r>
              <a:rPr lang="fa-IR" b="1" dirty="0" smtClean="0"/>
              <a:t>روش </a:t>
            </a:r>
            <a:r>
              <a:rPr lang="fa-IR" b="1" dirty="0"/>
              <a:t>خط مستقيم </a:t>
            </a:r>
          </a:p>
          <a:p>
            <a:pPr lvl="1" algn="r" rtl="1"/>
            <a:r>
              <a:rPr lang="fa-IR" b="1" dirty="0" smtClean="0"/>
              <a:t>روش </a:t>
            </a:r>
            <a:r>
              <a:rPr lang="fa-IR" b="1" dirty="0"/>
              <a:t>مانده نزولي </a:t>
            </a:r>
            <a:endParaRPr lang="fa-IR" b="1" dirty="0" smtClean="0"/>
          </a:p>
          <a:p>
            <a:pPr lvl="1" algn="r" rtl="1"/>
            <a:r>
              <a:rPr lang="fa-IR" b="1" dirty="0" smtClean="0"/>
              <a:t>روش </a:t>
            </a:r>
            <a:r>
              <a:rPr lang="fa-IR" b="1" dirty="0"/>
              <a:t>واحد توليد </a:t>
            </a:r>
            <a:endParaRPr lang="en-US" b="1" dirty="0"/>
          </a:p>
          <a:p>
            <a:pPr lvl="0" algn="r" rtl="1"/>
            <a:r>
              <a:rPr lang="fa-IR" b="1" dirty="0"/>
              <a:t>قيمت </a:t>
            </a:r>
            <a:r>
              <a:rPr lang="fa-IR" b="1" dirty="0" smtClean="0"/>
              <a:t>اسقاطي: عمر </a:t>
            </a:r>
            <a:r>
              <a:rPr lang="fa-IR" b="1" dirty="0"/>
              <a:t>مفيد و روش استهلاك بايد ساليانه مورد بررسي قرار گيرد . </a:t>
            </a:r>
            <a:endParaRPr lang="en-US" b="1" dirty="0"/>
          </a:p>
          <a:p>
            <a:pPr lvl="0" algn="r" rtl="1"/>
            <a:r>
              <a:rPr lang="fa-IR" b="1" dirty="0"/>
              <a:t>در صورت </a:t>
            </a:r>
            <a:r>
              <a:rPr lang="fa-IR" b="1" dirty="0" smtClean="0"/>
              <a:t>تجدید نظر؛ تغییر </a:t>
            </a:r>
            <a:r>
              <a:rPr lang="fa-IR" b="1" dirty="0"/>
              <a:t>در تخمين </a:t>
            </a:r>
            <a:r>
              <a:rPr lang="fa-IR" b="1" dirty="0" smtClean="0"/>
              <a:t>حسابداری بايد </a:t>
            </a:r>
            <a:r>
              <a:rPr lang="fa-IR" b="1" dirty="0"/>
              <a:t>آن را در موارد بعدي به كار </a:t>
            </a:r>
            <a:r>
              <a:rPr lang="fa-IR" b="1" dirty="0" smtClean="0"/>
              <a:t>بگيريم </a:t>
            </a:r>
            <a:r>
              <a:rPr lang="fa-IR" b="1" dirty="0"/>
              <a:t>.</a:t>
            </a:r>
            <a:endParaRPr lang="en-US" b="1" dirty="0"/>
          </a:p>
          <a:p>
            <a:pPr algn="r" rtl="1">
              <a:defRPr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958624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untry example: bridge infrastructure in Tasmani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Bridges are depreciated systematically over their useful life having regard to their unique rate of </a:t>
            </a:r>
            <a:r>
              <a:rPr lang="en-US" smtClean="0"/>
              <a:t>deterioration</a:t>
            </a:r>
            <a:endParaRPr lang="en-US"/>
          </a:p>
          <a:p>
            <a:r>
              <a:rPr lang="en-US"/>
              <a:t>Bridge values are depreciated parabolically to reflect the greater depreciation towards the end of </a:t>
            </a:r>
            <a:r>
              <a:rPr lang="en-US" smtClean="0"/>
              <a:t>the useful life of the bridg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E15A99E-1640-4EDC-A47B-98C8365F1B61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27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0927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dirty="0" smtClean="0">
                <a:cs typeface="B Titr" pitchFamily="2" charset="-78"/>
              </a:rPr>
              <a:t>مثال </a:t>
            </a:r>
            <a:r>
              <a:rPr lang="fa-IR" dirty="0">
                <a:cs typeface="B Titr" pitchFamily="2" charset="-78"/>
              </a:rPr>
              <a:t>كشوري : </a:t>
            </a:r>
            <a:r>
              <a:rPr lang="fa-IR" dirty="0" smtClean="0">
                <a:cs typeface="B Titr" pitchFamily="2" charset="-78"/>
              </a:rPr>
              <a:t>فراساختار  پل </a:t>
            </a:r>
            <a:r>
              <a:rPr lang="fa-IR" dirty="0">
                <a:cs typeface="B Titr" pitchFamily="2" charset="-78"/>
              </a:rPr>
              <a:t>در تاسمانيا (استراليا)</a:t>
            </a:r>
            <a:endParaRPr lang="en-US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2800" b="1" dirty="0" smtClean="0">
                <a:cs typeface="B Lotus" pitchFamily="2" charset="-78"/>
              </a:rPr>
              <a:t>پل </a:t>
            </a:r>
            <a:r>
              <a:rPr lang="fa-IR" sz="2800" b="1" dirty="0">
                <a:cs typeface="B Lotus" pitchFamily="2" charset="-78"/>
              </a:rPr>
              <a:t>هاي تاسمانيا در طول عمر مفيد آن با توجه به ميزان منحصر به فرد </a:t>
            </a:r>
            <a:r>
              <a:rPr lang="fa-IR" sz="2800" b="1" dirty="0" smtClean="0">
                <a:cs typeface="B Lotus" pitchFamily="2" charset="-78"/>
              </a:rPr>
              <a:t>تخريب و  </a:t>
            </a:r>
            <a:r>
              <a:rPr lang="fa-IR" sz="2800" b="1" dirty="0">
                <a:cs typeface="B Lotus" pitchFamily="2" charset="-78"/>
              </a:rPr>
              <a:t>كهنه شدن مستهلك </a:t>
            </a:r>
            <a:r>
              <a:rPr lang="fa-IR" sz="2800" b="1" dirty="0" smtClean="0">
                <a:cs typeface="B Lotus" pitchFamily="2" charset="-78"/>
              </a:rPr>
              <a:t>ميگردند </a:t>
            </a:r>
            <a:endParaRPr lang="en-US" sz="2800" b="1" dirty="0">
              <a:cs typeface="B Lotus" pitchFamily="2" charset="-78"/>
            </a:endParaRPr>
          </a:p>
          <a:p>
            <a:pPr algn="r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ارزش هاي مربوط به پل ها به صورت </a:t>
            </a:r>
            <a:r>
              <a:rPr lang="fa-IR" sz="2800" b="1" dirty="0" smtClean="0">
                <a:cs typeface="B Lotus" pitchFamily="2" charset="-78"/>
              </a:rPr>
              <a:t>سهمي مستهلک شدند تا </a:t>
            </a:r>
            <a:r>
              <a:rPr lang="fa-IR" sz="2800" b="1" dirty="0">
                <a:cs typeface="B Lotus" pitchFamily="2" charset="-78"/>
              </a:rPr>
              <a:t>نمايانگر استهلاك بيشتر در پايان عمر مفيد پل </a:t>
            </a:r>
            <a:r>
              <a:rPr lang="fa-IR" sz="2800" b="1" dirty="0" smtClean="0">
                <a:cs typeface="B Lotus" pitchFamily="2" charset="-78"/>
              </a:rPr>
              <a:t>باشند. </a:t>
            </a:r>
            <a:endParaRPr lang="en-US" sz="2800" b="1" dirty="0">
              <a:cs typeface="B Lotus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E15A99E-1640-4EDC-A47B-98C8365F1B61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28</a:t>
            </a:fld>
            <a:endParaRPr lang="nl-NL">
              <a:solidFill>
                <a:srgbClr val="0C2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300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preciation of bridge infrastructur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E15A99E-1640-4EDC-A47B-98C8365F1B61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29</a:t>
            </a:fld>
            <a:endParaRPr lang="nl-NL">
              <a:solidFill>
                <a:srgbClr val="0C2678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303" y="1111372"/>
            <a:ext cx="8560093" cy="5348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28032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 smtClean="0"/>
              <a:t>Outline of presentation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305" y="1447800"/>
            <a:ext cx="8543895" cy="5334000"/>
          </a:xfrm>
        </p:spPr>
        <p:txBody>
          <a:bodyPr>
            <a:noAutofit/>
          </a:bodyPr>
          <a:lstStyle/>
          <a:p>
            <a:r>
              <a:rPr lang="en-US" b="0" smtClean="0">
                <a:solidFill>
                  <a:srgbClr val="000066"/>
                </a:solidFill>
              </a:rPr>
              <a:t>Fixed </a:t>
            </a:r>
            <a:r>
              <a:rPr lang="en-US" b="0">
                <a:solidFill>
                  <a:srgbClr val="000066"/>
                </a:solidFill>
              </a:rPr>
              <a:t>assets</a:t>
            </a:r>
          </a:p>
          <a:p>
            <a:r>
              <a:rPr lang="nl-NL" b="0" smtClean="0">
                <a:solidFill>
                  <a:srgbClr val="000066"/>
                </a:solidFill>
              </a:rPr>
              <a:t>Tax </a:t>
            </a:r>
            <a:r>
              <a:rPr lang="nl-NL" b="0">
                <a:solidFill>
                  <a:srgbClr val="000066"/>
                </a:solidFill>
              </a:rPr>
              <a:t>asset</a:t>
            </a:r>
          </a:p>
          <a:p>
            <a:r>
              <a:rPr lang="en-US" b="0">
                <a:solidFill>
                  <a:srgbClr val="000066"/>
                </a:solidFill>
              </a:rPr>
              <a:t>Public d</a:t>
            </a:r>
            <a:r>
              <a:rPr lang="en-US" b="0" smtClean="0">
                <a:solidFill>
                  <a:srgbClr val="000066"/>
                </a:solidFill>
              </a:rPr>
              <a:t>ebt</a:t>
            </a:r>
            <a:endParaRPr lang="en-US" b="0">
              <a:solidFill>
                <a:srgbClr val="000066"/>
              </a:solidFill>
            </a:endParaRPr>
          </a:p>
          <a:p>
            <a:r>
              <a:rPr lang="nl-NL" b="0">
                <a:solidFill>
                  <a:srgbClr val="000066"/>
                </a:solidFill>
              </a:rPr>
              <a:t>Pension liabilities</a:t>
            </a:r>
          </a:p>
          <a:p>
            <a:r>
              <a:rPr lang="en-US" b="0">
                <a:solidFill>
                  <a:srgbClr val="000066"/>
                </a:solidFill>
              </a:rPr>
              <a:t>Government liabilities usually far exceed assets</a:t>
            </a:r>
          </a:p>
          <a:p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D7474-6F78-4654-92AD-7B2A27B66AEA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178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fa-IR" sz="3200" dirty="0" smtClean="0">
                <a:cs typeface="B Titr" pitchFamily="2" charset="-78"/>
              </a:rPr>
              <a:t>استهلاک پل</a:t>
            </a:r>
            <a:endParaRPr lang="en-US" sz="3200" dirty="0">
              <a:cs typeface="B Titr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E15A99E-1640-4EDC-A47B-98C8365F1B61}" type="slidenum">
              <a:rPr lang="nl-NL" smtClean="0">
                <a:solidFill>
                  <a:srgbClr val="0C2678"/>
                </a:solidFill>
              </a:rPr>
              <a:pPr>
                <a:defRPr/>
              </a:pPr>
              <a:t>30</a:t>
            </a:fld>
            <a:endParaRPr lang="nl-NL">
              <a:solidFill>
                <a:srgbClr val="0C2678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303" y="1111372"/>
            <a:ext cx="8560093" cy="5348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2001795" y="1111372"/>
            <a:ext cx="605481" cy="47029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a-IR" sz="1400" dirty="0" smtClean="0">
                <a:solidFill>
                  <a:schemeClr val="tx1"/>
                </a:solidFill>
                <a:latin typeface="Arial" charset="0"/>
                <a:cs typeface="B Titr" pitchFamily="2" charset="-78"/>
              </a:rPr>
              <a:t>ارزش دفتری</a:t>
            </a:r>
            <a:endParaRPr kumimoji="0" lang="fa-I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B Titr" pitchFamily="2" charset="-7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4660" y="1114755"/>
            <a:ext cx="605481" cy="47029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a-IR" sz="1400" dirty="0" smtClean="0">
                <a:solidFill>
                  <a:schemeClr val="tx1"/>
                </a:solidFill>
                <a:latin typeface="Arial" charset="0"/>
                <a:cs typeface="B Titr" pitchFamily="2" charset="-78"/>
              </a:rPr>
              <a:t>سن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a-IR" sz="1400" dirty="0" smtClean="0">
                <a:solidFill>
                  <a:schemeClr val="tx1"/>
                </a:solidFill>
                <a:latin typeface="Arial" charset="0"/>
                <a:cs typeface="B Titr" pitchFamily="2" charset="-78"/>
              </a:rPr>
              <a:t>پل</a:t>
            </a:r>
            <a:endParaRPr kumimoji="0" lang="fa-I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B Titr" pitchFamily="2" charset="-7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0142" y="1127845"/>
            <a:ext cx="1125758" cy="47029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a-IR" sz="1400" dirty="0" smtClean="0">
                <a:solidFill>
                  <a:schemeClr val="tx1"/>
                </a:solidFill>
                <a:latin typeface="Arial" charset="0"/>
                <a:cs typeface="B Titr" pitchFamily="2" charset="-78"/>
              </a:rPr>
              <a:t>ارزش جایگزینی</a:t>
            </a:r>
            <a:endParaRPr kumimoji="0" lang="fa-I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B Titr" pitchFamily="2" charset="-78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2990334" y="3299254"/>
            <a:ext cx="432486" cy="126038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a-IR" sz="1800" dirty="0" smtClean="0">
                <a:solidFill>
                  <a:srgbClr val="000000"/>
                </a:solidFill>
                <a:latin typeface="Arial" charset="0"/>
              </a:rPr>
              <a:t>ارزش دفتری</a:t>
            </a:r>
            <a:endParaRPr kumimoji="0" lang="fa-IR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375189" y="5955958"/>
            <a:ext cx="1445741" cy="29656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a-I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سن پل</a:t>
            </a:r>
          </a:p>
        </p:txBody>
      </p:sp>
    </p:spTree>
    <p:extLst>
      <p:ext uri="{BB962C8B-B14F-4D97-AF65-F5344CB8AC3E}">
        <p14:creationId xmlns:p14="http://schemas.microsoft.com/office/powerpoint/2010/main" val="2744932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Measurement options on transition </a:t>
            </a:r>
            <a:br>
              <a:rPr lang="en-US" altLang="en-US" dirty="0" smtClean="0"/>
            </a:br>
            <a:r>
              <a:rPr lang="en-US" altLang="en-US" dirty="0" smtClean="0"/>
              <a:t>(opening balance sheet)</a:t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000" smtClean="0"/>
              <a:t>Historical cost measurement</a:t>
            </a:r>
          </a:p>
          <a:p>
            <a:pPr lvl="1"/>
            <a:r>
              <a:rPr lang="en-US" altLang="en-US" sz="2000" smtClean="0"/>
              <a:t>At the historical cost at the date of acquisition </a:t>
            </a:r>
            <a:br>
              <a:rPr lang="en-US" altLang="en-US" sz="2000" smtClean="0"/>
            </a:br>
            <a:r>
              <a:rPr lang="en-US" altLang="en-US" sz="2000" smtClean="0"/>
              <a:t>plus subsequent expenditure  </a:t>
            </a:r>
            <a:br>
              <a:rPr lang="en-US" altLang="en-US" sz="2000" smtClean="0"/>
            </a:br>
            <a:r>
              <a:rPr lang="en-US" altLang="en-US" sz="2000" smtClean="0"/>
              <a:t>less accumulated depreciation and any impairment losses</a:t>
            </a:r>
          </a:p>
          <a:p>
            <a:r>
              <a:rPr lang="en-US" altLang="en-US" sz="2000" smtClean="0"/>
              <a:t>Historical fair value measurement</a:t>
            </a:r>
          </a:p>
          <a:p>
            <a:pPr lvl="1"/>
            <a:r>
              <a:rPr lang="en-US" altLang="en-US" sz="2000" smtClean="0"/>
              <a:t>At fair value at the date of acquisition </a:t>
            </a:r>
            <a:br>
              <a:rPr lang="en-US" altLang="en-US" sz="2000" smtClean="0"/>
            </a:br>
            <a:r>
              <a:rPr lang="en-US" altLang="en-US" sz="2000" smtClean="0"/>
              <a:t>plus subsequent expenditure </a:t>
            </a:r>
            <a:br>
              <a:rPr lang="en-US" altLang="en-US" sz="2000" smtClean="0"/>
            </a:br>
            <a:r>
              <a:rPr lang="en-US" altLang="en-US" sz="2000" smtClean="0"/>
              <a:t>less accumulated depreciation and any impairment losses</a:t>
            </a:r>
          </a:p>
          <a:p>
            <a:r>
              <a:rPr lang="en-US" altLang="en-US" sz="2000" smtClean="0"/>
              <a:t>Transition fair value measurement</a:t>
            </a:r>
          </a:p>
          <a:p>
            <a:pPr lvl="1"/>
            <a:r>
              <a:rPr lang="en-US" altLang="en-US" sz="2000" smtClean="0"/>
              <a:t>At fair value at the opening balance sheet date, e.g.: valuation of real estate or depreciated replaced cost of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705671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fa-IR" b="1" dirty="0">
                <a:cs typeface="B Titr" pitchFamily="2" charset="-78"/>
              </a:rPr>
              <a:t>انتخاب هاي موجود براي ثبت (مانده افتتاحيه در ترازنامه )</a:t>
            </a:r>
            <a:r>
              <a:rPr lang="en-US" sz="2000" b="1" dirty="0">
                <a:cs typeface="B Titr" pitchFamily="2" charset="-78"/>
              </a:rPr>
              <a:t/>
            </a:r>
            <a:br>
              <a:rPr lang="en-US" sz="2000" b="1" dirty="0">
                <a:cs typeface="B Titr" pitchFamily="2" charset="-78"/>
              </a:rPr>
            </a:br>
            <a:r>
              <a:rPr lang="en-US" altLang="en-US" dirty="0" smtClean="0">
                <a:cs typeface="B Titr" pitchFamily="2" charset="-78"/>
              </a:rPr>
              <a:t/>
            </a:r>
            <a:br>
              <a:rPr lang="en-US" altLang="en-US" dirty="0" smtClean="0">
                <a:cs typeface="B Titr" pitchFamily="2" charset="-78"/>
              </a:rPr>
            </a:br>
            <a:endParaRPr lang="en-US" altLang="en-US" dirty="0" smtClean="0">
              <a:cs typeface="B Titr" pitchFamily="2" charset="-78"/>
            </a:endParaRP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430084" y="900327"/>
            <a:ext cx="8394700" cy="5008563"/>
          </a:xfrm>
        </p:spPr>
        <p:txBody>
          <a:bodyPr/>
          <a:lstStyle/>
          <a:p>
            <a:pPr lvl="0" algn="just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ارزش </a:t>
            </a:r>
            <a:r>
              <a:rPr lang="fa-IR" sz="2800" b="1" dirty="0">
                <a:cs typeface="B Lotus" pitchFamily="2" charset="-78"/>
              </a:rPr>
              <a:t>براساس قيمت تاريخي </a:t>
            </a:r>
            <a:endParaRPr lang="en-US" sz="2800" b="1" dirty="0">
              <a:cs typeface="B Lotus" pitchFamily="2" charset="-78"/>
            </a:endParaRPr>
          </a:p>
          <a:p>
            <a:pPr lvl="1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قيمت تمام شده در تاريخ خريد باضافه هزينه هاي بعدي منهاي استهلاك و خسارات وارده </a:t>
            </a:r>
            <a:endParaRPr lang="en-US" sz="2800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 قيمت عادلانه تاريخي </a:t>
            </a:r>
            <a:endParaRPr lang="en-US" sz="2800" b="1" dirty="0">
              <a:cs typeface="B Lotus" pitchFamily="2" charset="-78"/>
            </a:endParaRPr>
          </a:p>
          <a:p>
            <a:pPr lvl="1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به قيمت عادلانه بازار در زمان خريد بعلاوه هزينه هاي بعدي منهاي استهلاك و خسارات وارده </a:t>
            </a:r>
            <a:endParaRPr lang="en-US" sz="2800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ارزش گذاري قيمت عادلانه در زمان انتقال (مانده افتتاحيه </a:t>
            </a:r>
            <a:endParaRPr lang="en-US" sz="2800" b="1" dirty="0">
              <a:cs typeface="B Lotus" pitchFamily="2" charset="-78"/>
            </a:endParaRPr>
          </a:p>
          <a:p>
            <a:pPr lvl="1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قيمت عادلانه </a:t>
            </a:r>
            <a:r>
              <a:rPr lang="fa-IR" sz="2800" b="1" dirty="0" smtClean="0">
                <a:cs typeface="B Lotus" pitchFamily="2" charset="-78"/>
              </a:rPr>
              <a:t>در تاريخ تراز افتتاحيه براي مثال : ارزش </a:t>
            </a:r>
            <a:r>
              <a:rPr lang="fa-IR" sz="2800" b="1" dirty="0">
                <a:cs typeface="B Lotus" pitchFamily="2" charset="-78"/>
              </a:rPr>
              <a:t>مستغلات</a:t>
            </a:r>
            <a:endParaRPr lang="en-US" sz="2800" b="1" dirty="0">
              <a:cs typeface="B Lotus" pitchFamily="2" charset="-78"/>
            </a:endParaRPr>
          </a:p>
          <a:p>
            <a:pPr lvl="1" algn="r" rtl="1"/>
            <a:endParaRPr lang="en-US" alt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596192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marL="18892" indent="-18892"/>
            <a:r>
              <a:rPr lang="nl-NL" sz="4000" smtClean="0"/>
              <a:t>Example: Asset valuation in Turkey</a:t>
            </a:r>
            <a:endParaRPr lang="en-US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17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algn="ctr" rtl="1"/>
            <a:r>
              <a:rPr lang="fa-IR" sz="4000" b="1" dirty="0">
                <a:cs typeface="B Titr" pitchFamily="2" charset="-78"/>
              </a:rPr>
              <a:t> </a:t>
            </a:r>
            <a:r>
              <a:rPr lang="fa-IR" sz="4000" b="1" dirty="0" smtClean="0">
                <a:cs typeface="B Titr" pitchFamily="2" charset="-78"/>
              </a:rPr>
              <a:t>مثال </a:t>
            </a:r>
            <a:r>
              <a:rPr lang="fa-IR" sz="4000" b="1" dirty="0">
                <a:cs typeface="B Titr" pitchFamily="2" charset="-78"/>
              </a:rPr>
              <a:t>: ارزش گذاري دارايي در تركيه</a:t>
            </a:r>
            <a:endParaRPr lang="en-US" sz="4000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5461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sz="3200" dirty="0">
                <a:cs typeface="B Titr" pitchFamily="2" charset="-78"/>
              </a:rPr>
              <a:t>قانون مديريت و كنترل مالي 2003 تركيه</a:t>
            </a:r>
            <a:endParaRPr lang="nl-NL" sz="3200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240540"/>
            <a:ext cx="8394700" cy="5008563"/>
          </a:xfrm>
        </p:spPr>
        <p:txBody>
          <a:bodyPr/>
          <a:lstStyle/>
          <a:p>
            <a:pPr lvl="0" algn="just" rtl="1">
              <a:lnSpc>
                <a:spcPct val="150000"/>
              </a:lnSpc>
            </a:pPr>
            <a:r>
              <a:rPr lang="fa-IR" sz="2800" b="1" dirty="0" smtClean="0">
                <a:cs typeface="B Lotus" pitchFamily="2" charset="-78"/>
              </a:rPr>
              <a:t>اين </a:t>
            </a:r>
            <a:r>
              <a:rPr lang="fa-IR" sz="2800" b="1" dirty="0">
                <a:cs typeface="B Lotus" pitchFamily="2" charset="-78"/>
              </a:rPr>
              <a:t>قانون شامل عنوان « معاملات دارائيهاي منقول و غير منقول » </a:t>
            </a:r>
            <a:endParaRPr lang="en-US" sz="2800" b="1" dirty="0">
              <a:cs typeface="B Lotus" pitchFamily="2" charset="-78"/>
            </a:endParaRPr>
          </a:p>
          <a:p>
            <a:pPr lvl="0" algn="just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اداره كل اموال ملي و اداره كل حسابهاي دولتي مشتركاً در اجراي پروژه مربوط به حسابداري دارائيهاي ثابت شركت دارند . </a:t>
            </a:r>
            <a:endParaRPr lang="en-US" sz="2800" b="1" dirty="0">
              <a:cs typeface="B Lotus" pitchFamily="2" charset="-78"/>
            </a:endParaRPr>
          </a:p>
          <a:p>
            <a:pPr lvl="0" algn="just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هدف از اين پروژه شناسايي ابنيه و املاك دولتي ثبت شده در ترازنامه پايان سال 2016 مي باشد . </a:t>
            </a:r>
            <a:endParaRPr lang="en-US" sz="2800" b="1" dirty="0">
              <a:cs typeface="B Lotus" pitchFamily="2" charset="-78"/>
            </a:endParaRPr>
          </a:p>
          <a:p>
            <a:pPr algn="r" rt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75043183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D</a:t>
            </a:r>
            <a:r>
              <a:rPr lang="tr-TR"/>
              <a:t>ecree of recording the immovables of public </a:t>
            </a:r>
            <a:r>
              <a:rPr lang="tr-TR" smtClean="0"/>
              <a:t>institutions</a:t>
            </a:r>
            <a:r>
              <a:rPr lang="nl-NL" smtClean="0"/>
              <a:t> (2006)</a:t>
            </a:r>
            <a:br>
              <a:rPr lang="nl-NL" smtClean="0"/>
            </a:br>
            <a:r>
              <a:rPr lang="en-US" altLang="en-US" sz="1600">
                <a:solidFill>
                  <a:srgbClr val="92D050"/>
                </a:solidFill>
              </a:rPr>
              <a:t>Turkey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775460"/>
            <a:ext cx="8394700" cy="5008563"/>
          </a:xfrm>
        </p:spPr>
        <p:txBody>
          <a:bodyPr/>
          <a:lstStyle/>
          <a:p>
            <a:pPr fontAlgn="t"/>
            <a:r>
              <a:rPr lang="nl-NL" smtClean="0"/>
              <a:t>T</a:t>
            </a:r>
            <a:r>
              <a:rPr lang="tr-TR" smtClean="0"/>
              <a:t>his </a:t>
            </a:r>
            <a:r>
              <a:rPr lang="tr-TR"/>
              <a:t>decree </a:t>
            </a:r>
            <a:r>
              <a:rPr lang="nl-NL" smtClean="0"/>
              <a:t>regulates </a:t>
            </a:r>
            <a:r>
              <a:rPr lang="tr-TR" smtClean="0"/>
              <a:t>the </a:t>
            </a:r>
            <a:r>
              <a:rPr lang="tr-TR"/>
              <a:t>recording of the immovables owned, managed or used by public </a:t>
            </a:r>
            <a:r>
              <a:rPr lang="nl-NL" smtClean="0"/>
              <a:t>ent</a:t>
            </a:r>
            <a:r>
              <a:rPr lang="tr-TR" smtClean="0"/>
              <a:t>ities</a:t>
            </a:r>
            <a:endParaRPr lang="tr-TR"/>
          </a:p>
          <a:p>
            <a:pPr fontAlgn="t"/>
            <a:r>
              <a:rPr lang="nl-NL" smtClean="0"/>
              <a:t>T</a:t>
            </a:r>
            <a:r>
              <a:rPr lang="tr-TR" smtClean="0"/>
              <a:t>he </a:t>
            </a:r>
            <a:r>
              <a:rPr lang="nl-NL" smtClean="0"/>
              <a:t>recording of </a:t>
            </a:r>
            <a:r>
              <a:rPr lang="tr-TR" smtClean="0"/>
              <a:t>accounting </a:t>
            </a:r>
            <a:r>
              <a:rPr lang="tr-TR"/>
              <a:t>values </a:t>
            </a:r>
            <a:r>
              <a:rPr lang="nl-NL" smtClean="0"/>
              <a:t>started only in 2014 after criticism by </a:t>
            </a:r>
            <a:r>
              <a:rPr lang="tr-TR" smtClean="0"/>
              <a:t>the </a:t>
            </a:r>
            <a:r>
              <a:rPr lang="nl-NL" smtClean="0"/>
              <a:t>auditor</a:t>
            </a:r>
          </a:p>
        </p:txBody>
      </p:sp>
    </p:spTree>
    <p:extLst>
      <p:ext uri="{BB962C8B-B14F-4D97-AF65-F5344CB8AC3E}">
        <p14:creationId xmlns:p14="http://schemas.microsoft.com/office/powerpoint/2010/main" val="3415007604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 </a:t>
            </a:r>
            <a:r>
              <a:rPr lang="fa-IR" b="1" dirty="0" smtClean="0">
                <a:cs typeface="B Titr" pitchFamily="2" charset="-78"/>
              </a:rPr>
              <a:t>مصوبه </a:t>
            </a:r>
            <a:r>
              <a:rPr lang="fa-IR" b="1" dirty="0">
                <a:cs typeface="B Titr" pitchFamily="2" charset="-78"/>
              </a:rPr>
              <a:t>مربوط به ثبت اموال غير منقول موسسات دولتي (2006)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56" y="1182324"/>
            <a:ext cx="8394700" cy="5008563"/>
          </a:xfrm>
        </p:spPr>
        <p:txBody>
          <a:bodyPr/>
          <a:lstStyle/>
          <a:p>
            <a:pPr lvl="0" algn="just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اين مصوبه  در مورد تنظيم ثبت اموال غير منقول كه متعلق به دستگاههاي عمدي است و با توسط آنها اداره و يا استفاده ميشود . </a:t>
            </a:r>
            <a:endParaRPr lang="en-US" sz="2800" b="1" dirty="0">
              <a:cs typeface="B Lotus" pitchFamily="2" charset="-78"/>
            </a:endParaRPr>
          </a:p>
          <a:p>
            <a:pPr algn="just" rtl="1">
              <a:lnSpc>
                <a:spcPct val="150000"/>
              </a:lnSpc>
            </a:pPr>
            <a:r>
              <a:rPr lang="fa-IR" sz="2800" b="1" dirty="0">
                <a:cs typeface="B Lotus" pitchFamily="2" charset="-78"/>
              </a:rPr>
              <a:t>ثبت ارزش اموال در دفاتر حسابداري در سال 2014 بعد از انتقاد حسابرس كل شروع گرديد . </a:t>
            </a:r>
            <a:endParaRPr lang="nl-NL" sz="2800" b="1" dirty="0" smtClean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88340372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Valuation basis: market value</a:t>
            </a:r>
            <a:br>
              <a:rPr lang="nl-NL" smtClean="0"/>
            </a:br>
            <a:r>
              <a:rPr lang="en-US" altLang="en-US" sz="1600">
                <a:solidFill>
                  <a:srgbClr val="92D050"/>
                </a:solidFill>
              </a:rPr>
              <a:t>Turkey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t"/>
            <a:r>
              <a:rPr lang="en-US" smtClean="0"/>
              <a:t>Immovable assets will be </a:t>
            </a:r>
            <a:r>
              <a:rPr lang="en-US"/>
              <a:t>recorded </a:t>
            </a:r>
            <a:r>
              <a:rPr lang="en-US" smtClean="0"/>
              <a:t>at market value, determined by owner or user entity</a:t>
            </a:r>
            <a:endParaRPr lang="en-US"/>
          </a:p>
          <a:p>
            <a:pPr fontAlgn="t"/>
            <a:r>
              <a:rPr lang="en-US" smtClean="0"/>
              <a:t>The </a:t>
            </a:r>
            <a:r>
              <a:rPr lang="en-US"/>
              <a:t>decree </a:t>
            </a:r>
            <a:r>
              <a:rPr lang="en-US" smtClean="0"/>
              <a:t>requires that </a:t>
            </a:r>
            <a:r>
              <a:rPr lang="en-US"/>
              <a:t>the market value </a:t>
            </a:r>
            <a:r>
              <a:rPr lang="en-US" smtClean="0"/>
              <a:t>recordings </a:t>
            </a:r>
            <a:r>
              <a:rPr lang="en-US"/>
              <a:t>are </a:t>
            </a:r>
            <a:r>
              <a:rPr lang="en-US" smtClean="0"/>
              <a:t>completed </a:t>
            </a:r>
            <a:r>
              <a:rPr lang="en-US"/>
              <a:t>by 31/12/2016</a:t>
            </a:r>
          </a:p>
          <a:p>
            <a:pPr fontAlgn="t"/>
            <a:r>
              <a:rPr lang="en-US" smtClean="0"/>
              <a:t>Currently, </a:t>
            </a:r>
            <a:r>
              <a:rPr lang="en-US"/>
              <a:t>almost all </a:t>
            </a:r>
            <a:r>
              <a:rPr lang="en-US" smtClean="0"/>
              <a:t>2.4 million parcels of land and buildings are still recorded at tax-based value. Only 422,000 </a:t>
            </a:r>
            <a:r>
              <a:rPr lang="en-US"/>
              <a:t>parcels </a:t>
            </a:r>
            <a:r>
              <a:rPr lang="en-US" smtClean="0"/>
              <a:t>of land and buildings are </a:t>
            </a:r>
            <a:r>
              <a:rPr lang="en-US"/>
              <a:t>recorded </a:t>
            </a:r>
            <a:r>
              <a:rPr lang="en-US" smtClean="0"/>
              <a:t>at </a:t>
            </a:r>
            <a:r>
              <a:rPr lang="en-US"/>
              <a:t>market valu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19172043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fa-IR" dirty="0">
                <a:cs typeface="B Titr" pitchFamily="2" charset="-78"/>
              </a:rPr>
              <a:t>پايه ارزش گذاري : قيمت بازار </a:t>
            </a:r>
            <a:endParaRPr lang="nl-NL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995" y="1308100"/>
            <a:ext cx="8859793" cy="5008563"/>
          </a:xfrm>
        </p:spPr>
        <p:txBody>
          <a:bodyPr/>
          <a:lstStyle/>
          <a:p>
            <a:pPr lvl="0" algn="just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دارائيهاي </a:t>
            </a:r>
            <a:r>
              <a:rPr lang="fa-IR" sz="2400" b="1" dirty="0">
                <a:cs typeface="B Lotus" pitchFamily="2" charset="-78"/>
              </a:rPr>
              <a:t>غير منقول با توجه به ارزش بازار آنها ثبت ميگردد و اين ارزش توسط صاحب دارايي و يا دستگاه استفاده كننده تعيين مي گردد . </a:t>
            </a:r>
            <a:endParaRPr lang="en-US" sz="2400" b="1" dirty="0">
              <a:cs typeface="B Lotus" pitchFamily="2" charset="-78"/>
            </a:endParaRPr>
          </a:p>
          <a:p>
            <a:pPr lvl="0" algn="just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اين مصوبه ملزم نموده است كه ثبت ارزش بازار دارائيها تا 31/12/2016 خاتمه يابد . </a:t>
            </a:r>
            <a:endParaRPr lang="en-US" sz="2400" b="1" dirty="0">
              <a:cs typeface="B Lotus" pitchFamily="2" charset="-78"/>
            </a:endParaRPr>
          </a:p>
          <a:p>
            <a:pPr algn="just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در حال حاضر حدود 4/2 ميليون قطعه زمين و ساختمان هنوز براساس ارزش مالياتي آنها ثبت گرديده اند . تنها 422000 قطعه زمين و ساختمان با قيمت بازار ثبت شده اند </a:t>
            </a:r>
            <a:endParaRPr lang="nl-NL" sz="2400" b="1" dirty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14089940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sz="3600" dirty="0">
                <a:cs typeface="B Titr" pitchFamily="2" charset="-78"/>
              </a:rPr>
              <a:t>موارد اصلي سخنراني </a:t>
            </a:r>
            <a:endParaRPr lang="en-US" sz="3600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305" y="1447800"/>
            <a:ext cx="8543895" cy="5334000"/>
          </a:xfrm>
        </p:spPr>
        <p:txBody>
          <a:bodyPr>
            <a:noAutofit/>
          </a:bodyPr>
          <a:lstStyle/>
          <a:p>
            <a:pPr lvl="0" algn="r" rtl="1">
              <a:lnSpc>
                <a:spcPct val="150000"/>
              </a:lnSpc>
            </a:pPr>
            <a:r>
              <a:rPr lang="fa-IR" sz="3200" dirty="0">
                <a:cs typeface="B Lotus" pitchFamily="2" charset="-78"/>
              </a:rPr>
              <a:t>دارائيهاي ثابت</a:t>
            </a:r>
            <a:endParaRPr lang="en-US" sz="3200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dirty="0">
                <a:cs typeface="B Lotus" pitchFamily="2" charset="-78"/>
              </a:rPr>
              <a:t>دارائيهاي مالياتي</a:t>
            </a:r>
            <a:endParaRPr lang="en-US" sz="3200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dirty="0">
                <a:cs typeface="B Lotus" pitchFamily="2" charset="-78"/>
              </a:rPr>
              <a:t>بدهي عمومي (دولتي)</a:t>
            </a:r>
            <a:endParaRPr lang="en-US" sz="3200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dirty="0">
                <a:cs typeface="B Lotus" pitchFamily="2" charset="-78"/>
              </a:rPr>
              <a:t>بدهيهاي مربوط به </a:t>
            </a:r>
            <a:r>
              <a:rPr lang="fa-IR" sz="3200" dirty="0" smtClean="0">
                <a:cs typeface="B Lotus" pitchFamily="2" charset="-78"/>
              </a:rPr>
              <a:t>بازنشستگي</a:t>
            </a:r>
            <a:endParaRPr lang="en-US" sz="3200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3200" dirty="0">
                <a:cs typeface="B Lotus" pitchFamily="2" charset="-78"/>
              </a:rPr>
              <a:t>بدهي ها و تعهدات دولت معمولاً مازاد بر دارائيهاي آن است</a:t>
            </a:r>
            <a:endParaRPr lang="en-US" sz="3200" dirty="0">
              <a:cs typeface="B Lotus" pitchFamily="2" charset="-78"/>
            </a:endParaRPr>
          </a:p>
          <a:p>
            <a:pPr algn="r" rtl="1"/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D7474-6F78-4654-92AD-7B2A27B66AEA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30744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اساس ارزش گذاري : ارزش اسمي 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r" rtl="1"/>
            <a:r>
              <a:rPr lang="fa-IR" b="1" dirty="0">
                <a:cs typeface="B Titr" pitchFamily="2" charset="-78"/>
              </a:rPr>
              <a:t>دارائيهاي زير براساس ارزش اسمي به مبلغ 01%  در تركيه ثبت ميگردند . </a:t>
            </a:r>
            <a:endParaRPr lang="en-US" b="1" dirty="0">
              <a:cs typeface="B Titr" pitchFamily="2" charset="-78"/>
            </a:endParaRPr>
          </a:p>
          <a:p>
            <a:pPr lvl="0" algn="r" rtl="1"/>
            <a:r>
              <a:rPr lang="fa-IR" b="1" dirty="0">
                <a:cs typeface="B Titr" pitchFamily="2" charset="-78"/>
              </a:rPr>
              <a:t>جنگل ها و درياچه ها </a:t>
            </a:r>
            <a:endParaRPr lang="en-US" b="1" dirty="0">
              <a:cs typeface="B Titr" pitchFamily="2" charset="-78"/>
            </a:endParaRPr>
          </a:p>
          <a:p>
            <a:pPr lvl="0" algn="r" rtl="1"/>
            <a:r>
              <a:rPr lang="fa-IR" b="1" dirty="0">
                <a:cs typeface="B Titr" pitchFamily="2" charset="-78"/>
              </a:rPr>
              <a:t>سواحل </a:t>
            </a:r>
            <a:endParaRPr lang="en-US" b="1" dirty="0">
              <a:cs typeface="B Titr" pitchFamily="2" charset="-78"/>
            </a:endParaRPr>
          </a:p>
          <a:p>
            <a:pPr lvl="0" algn="r" rtl="1"/>
            <a:r>
              <a:rPr lang="fa-IR" b="1" dirty="0">
                <a:cs typeface="B Titr" pitchFamily="2" charset="-78"/>
              </a:rPr>
              <a:t>ابنيه هاي مذهبي </a:t>
            </a:r>
            <a:endParaRPr lang="en-US" b="1" dirty="0">
              <a:cs typeface="B Titr" pitchFamily="2" charset="-78"/>
            </a:endParaRPr>
          </a:p>
          <a:p>
            <a:pPr lvl="0" algn="r" rtl="1"/>
            <a:r>
              <a:rPr lang="fa-IR" b="1" dirty="0">
                <a:cs typeface="B Titr" pitchFamily="2" charset="-78"/>
              </a:rPr>
              <a:t>قبرستان ها </a:t>
            </a:r>
          </a:p>
          <a:p>
            <a:pPr lvl="0" algn="r" rtl="1"/>
            <a:r>
              <a:rPr lang="fa-IR" dirty="0" smtClean="0">
                <a:cs typeface="B Titr" pitchFamily="2" charset="-78"/>
              </a:rPr>
              <a:t>مراتع </a:t>
            </a:r>
            <a:r>
              <a:rPr lang="fa-IR" dirty="0">
                <a:cs typeface="B Titr" pitchFamily="2" charset="-78"/>
              </a:rPr>
              <a:t>و زمين هايي كه براي استفاده عموم است </a:t>
            </a:r>
            <a:endParaRPr lang="en-US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5470372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marL="18892" indent="-18892"/>
            <a:r>
              <a:rPr lang="nl-NL" sz="4000" smtClean="0"/>
              <a:t>Threshold for </a:t>
            </a:r>
            <a:r>
              <a:rPr lang="nl-NL" sz="4000"/>
              <a:t>the </a:t>
            </a:r>
            <a:r>
              <a:rPr lang="nl-NL" sz="4000" err="1"/>
              <a:t>Recognition</a:t>
            </a:r>
            <a:r>
              <a:rPr lang="nl-NL" sz="4000"/>
              <a:t> of </a:t>
            </a:r>
            <a:r>
              <a:rPr lang="nl-NL" sz="4000" smtClean="0"/>
              <a:t>Fixed Assets</a:t>
            </a:r>
            <a:endParaRPr lang="en-US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64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algn="r" rtl="1"/>
            <a:r>
              <a:rPr lang="fa-IR" sz="4000" b="1" dirty="0">
                <a:cs typeface="B Titr" pitchFamily="2" charset="-78"/>
              </a:rPr>
              <a:t>آستانه شناسايي دارائيهاي ثابت</a:t>
            </a:r>
            <a:endParaRPr lang="en-US" sz="4000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4715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405371" y="358777"/>
            <a:ext cx="8391525" cy="619125"/>
          </a:xfrm>
        </p:spPr>
        <p:txBody>
          <a:bodyPr/>
          <a:lstStyle/>
          <a:p>
            <a:r>
              <a:rPr lang="en-US" sz="2800" b="1" dirty="0" smtClean="0">
                <a:cs typeface="B Titr" pitchFamily="2" charset="-78"/>
              </a:rPr>
              <a:t>Materiality </a:t>
            </a:r>
            <a:endParaRPr lang="nl-NL" sz="2800" b="1" dirty="0" smtClean="0">
              <a:cs typeface="B Titr" pitchFamily="2" charset="-78"/>
            </a:endParaRPr>
          </a:p>
        </p:txBody>
      </p:sp>
      <p:sp>
        <p:nvSpPr>
          <p:cNvPr id="12291" name="Content Placeholder 2"/>
          <p:cNvSpPr>
            <a:spLocks noGrp="1"/>
          </p:cNvSpPr>
          <p:nvPr>
            <p:ph idx="4294967295"/>
          </p:nvPr>
        </p:nvSpPr>
        <p:spPr>
          <a:xfrm>
            <a:off x="415571" y="1450108"/>
            <a:ext cx="8424000" cy="474867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200" dirty="0" smtClean="0"/>
              <a:t>Omissions or misstatements are material if they could, individually or collectively, influence the decisions of the users of the financial statements</a:t>
            </a:r>
          </a:p>
          <a:p>
            <a:pPr>
              <a:lnSpc>
                <a:spcPct val="100000"/>
              </a:lnSpc>
            </a:pPr>
            <a:r>
              <a:rPr lang="en-US" sz="2200" dirty="0" smtClean="0"/>
              <a:t>Materiality depends on the nature and size of the omission or misstatement judged in the circumstances</a:t>
            </a:r>
          </a:p>
          <a:p>
            <a:pPr lvl="0" algn="r" rtl="1">
              <a:lnSpc>
                <a:spcPct val="150000"/>
              </a:lnSpc>
            </a:pPr>
            <a:r>
              <a:rPr lang="fa-IR" sz="2000" b="1" dirty="0">
                <a:cs typeface="B Lotus" pitchFamily="2" charset="-78"/>
              </a:rPr>
              <a:t>حذف يا ثبت اشتباه زماني ميتواند داراي اهميت باشد كه به صورت فردي يا جمعي بر تصميمات استفاده كنندگان از صورت هاي مالي تاثيربگذارد . </a:t>
            </a:r>
            <a:endParaRPr lang="en-US" sz="20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000" b="1" dirty="0">
                <a:cs typeface="B Lotus" pitchFamily="2" charset="-78"/>
              </a:rPr>
              <a:t>اهميت داشتن بستگي دارد به ماهيت و اندازه مورد حذف شده و يا اشتباه ثبت شده دارد كه آنهم براساس قضاوت با توجه به شرايط است . </a:t>
            </a:r>
            <a:endParaRPr lang="en-US" sz="2000" b="1" dirty="0">
              <a:cs typeface="B Lotus" pitchFamily="2" charset="-78"/>
            </a:endParaRPr>
          </a:p>
          <a:p>
            <a:pPr>
              <a:lnSpc>
                <a:spcPct val="100000"/>
              </a:lnSpc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5723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405371" y="358777"/>
            <a:ext cx="8391525" cy="619125"/>
          </a:xfrm>
        </p:spPr>
        <p:txBody>
          <a:bodyPr/>
          <a:lstStyle/>
          <a:p>
            <a:pPr algn="r"/>
            <a:r>
              <a:rPr lang="fa-IR" sz="2800" dirty="0">
                <a:cs typeface="B Titr" pitchFamily="2" charset="-78"/>
              </a:rPr>
              <a:t>اهميت </a:t>
            </a:r>
            <a:endParaRPr lang="nl-NL" sz="2800" dirty="0" smtClean="0">
              <a:cs typeface="B Titr" pitchFamily="2" charset="-78"/>
            </a:endParaRPr>
          </a:p>
        </p:txBody>
      </p:sp>
      <p:sp>
        <p:nvSpPr>
          <p:cNvPr id="12291" name="Content Placeholder 2"/>
          <p:cNvSpPr>
            <a:spLocks noGrp="1"/>
          </p:cNvSpPr>
          <p:nvPr>
            <p:ph idx="4294967295"/>
          </p:nvPr>
        </p:nvSpPr>
        <p:spPr>
          <a:xfrm>
            <a:off x="415571" y="1450108"/>
            <a:ext cx="8424000" cy="4748677"/>
          </a:xfrm>
          <a:prstGeom prst="rect">
            <a:avLst/>
          </a:prstGeom>
        </p:spPr>
        <p:txBody>
          <a:bodyPr/>
          <a:lstStyle/>
          <a:p>
            <a:pPr lvl="0" algn="just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حذف </a:t>
            </a:r>
            <a:r>
              <a:rPr lang="fa-IR" sz="2400" b="1" dirty="0">
                <a:cs typeface="B Lotus" pitchFamily="2" charset="-78"/>
              </a:rPr>
              <a:t>يا ثبت اشتباه زماني ميتواند داراي اهميت باشد كه به صورت فردي يا جمعي بر تصميمات استفاده كنندگان از صورت هاي مالي تاثيربگذارد . </a:t>
            </a:r>
            <a:endParaRPr lang="en-US" sz="2400" b="1" dirty="0">
              <a:cs typeface="B Lotus" pitchFamily="2" charset="-78"/>
            </a:endParaRPr>
          </a:p>
          <a:p>
            <a:pPr lvl="0" algn="just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اهميت داشتن بستگي دارد به ماهيت و اندازه مورد حذف شده و يا اشتباه ثبت شده دارد كه آنهم براساس قضاوت با توجه به شرايط است . </a:t>
            </a:r>
            <a:endParaRPr lang="en-US" sz="2400" b="1" dirty="0">
              <a:cs typeface="B Lotus" pitchFamily="2" charset="-78"/>
            </a:endParaRPr>
          </a:p>
          <a:p>
            <a:pPr algn="just">
              <a:lnSpc>
                <a:spcPct val="100000"/>
              </a:lnSpc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0074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sz="2800" b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ational Civil Aviation Organization – 2013 financial statements</a:t>
            </a:r>
            <a:endParaRPr lang="en-US" sz="2800" b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Property, plant and equipment are capitalized if their cost is greater </a:t>
            </a:r>
            <a:r>
              <a:rPr lang="en-US" smtClean="0"/>
              <a:t>than the threshold limit </a:t>
            </a:r>
            <a:r>
              <a:rPr lang="en-US"/>
              <a:t>set at </a:t>
            </a:r>
            <a:endParaRPr lang="en-US" smtClean="0"/>
          </a:p>
          <a:p>
            <a:r>
              <a:rPr lang="en-US" smtClean="0"/>
              <a:t>$ 3,000 for freehold assets</a:t>
            </a:r>
          </a:p>
          <a:p>
            <a:r>
              <a:rPr lang="en-US" smtClean="0"/>
              <a:t>$ 25,000 for leasehold improvem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71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fa-IR" dirty="0">
                <a:cs typeface="B Titr" pitchFamily="2" charset="-78"/>
              </a:rPr>
              <a:t>صورت هاي مالي سازمان هوانوردي در سال 2013 </a:t>
            </a:r>
            <a:endParaRPr lang="en-US" sz="2800" b="0" dirty="0">
              <a:latin typeface="Verdana" panose="020B0604030504040204" pitchFamily="34" charset="0"/>
              <a:ea typeface="Verdana" panose="020B0604030504040204" pitchFamily="34" charset="0"/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اموال </a:t>
            </a:r>
            <a:r>
              <a:rPr lang="fa-IR" sz="2400" b="1" dirty="0">
                <a:cs typeface="B Lotus" pitchFamily="2" charset="-78"/>
              </a:rPr>
              <a:t>، ماشين آلات و تجهيزات زماني دارائيهاي سرمايه تلقي ميشوند  كه مازاد بر سقف تعيين شده باشند . </a:t>
            </a:r>
            <a:endParaRPr lang="en-US" sz="24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30000 دلار براي دارائيهايي كه در رهن نباشند . </a:t>
            </a:r>
            <a:endParaRPr lang="en-US" sz="2400" b="1" dirty="0">
              <a:cs typeface="B Lotus" pitchFamily="2" charset="-78"/>
            </a:endParaRPr>
          </a:p>
          <a:p>
            <a:pPr lvl="0"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25000 دلار براي املاك ا جاره اي كه براي بهبود آن هزينه شده است .</a:t>
            </a:r>
            <a:endParaRPr lang="en-US" sz="2400" b="1" dirty="0">
              <a:cs typeface="B Lotus" pitchFamily="2" charset="-78"/>
            </a:endParaRPr>
          </a:p>
          <a:p>
            <a:pPr algn="r"/>
            <a:endParaRPr lang="en-US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4073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World Health </a:t>
            </a:r>
            <a:r>
              <a:rPr lang="nl-NL" err="1" smtClean="0"/>
              <a:t>Organization</a:t>
            </a:r>
            <a:r>
              <a:rPr lang="nl-NL" smtClean="0"/>
              <a:t> – 2014 financial statements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Property, plant and equipment with a value greater than US$ </a:t>
            </a:r>
            <a:r>
              <a:rPr lang="en-US" smtClean="0"/>
              <a:t>5,000 </a:t>
            </a:r>
            <a:r>
              <a:rPr lang="en-US"/>
              <a:t>are recognized as non-current </a:t>
            </a:r>
            <a:r>
              <a:rPr lang="en-US" smtClean="0"/>
              <a:t>assets in </a:t>
            </a:r>
            <a:r>
              <a:rPr lang="en-US"/>
              <a:t>the </a:t>
            </a:r>
            <a:r>
              <a:rPr lang="en-US" smtClean="0"/>
              <a:t>statement </a:t>
            </a:r>
            <a:r>
              <a:rPr lang="en-US"/>
              <a:t>of </a:t>
            </a:r>
            <a:r>
              <a:rPr lang="en-US" smtClean="0"/>
              <a:t>financial positio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24665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 </a:t>
            </a:r>
            <a:r>
              <a:rPr lang="en-US" b="1" dirty="0">
                <a:cs typeface="B Titr" pitchFamily="2" charset="-78"/>
              </a:rPr>
              <a:t/>
            </a:r>
            <a:br>
              <a:rPr lang="en-US" b="1" dirty="0">
                <a:cs typeface="B Titr" pitchFamily="2" charset="-78"/>
              </a:rPr>
            </a:br>
            <a:r>
              <a:rPr lang="fa-IR" b="1" dirty="0">
                <a:cs typeface="B Titr" pitchFamily="2" charset="-78"/>
              </a:rPr>
              <a:t>سازمان بهداشت جهاني : صورت هاي مالي 2014 </a:t>
            </a:r>
            <a:r>
              <a:rPr lang="en-US" b="1" dirty="0">
                <a:cs typeface="B Titr" pitchFamily="2" charset="-78"/>
              </a:rPr>
              <a:t/>
            </a:r>
            <a:br>
              <a:rPr lang="en-US" b="1" dirty="0">
                <a:cs typeface="B Titr" pitchFamily="2" charset="-78"/>
              </a:rPr>
            </a:br>
            <a:endParaRPr lang="nl-NL" dirty="0">
              <a:cs typeface="B Titr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r" rtl="1">
              <a:lnSpc>
                <a:spcPct val="150000"/>
              </a:lnSpc>
            </a:pPr>
            <a:r>
              <a:rPr lang="fa-IR" sz="2400" b="1" dirty="0">
                <a:cs typeface="B Lotus" pitchFamily="2" charset="-78"/>
              </a:rPr>
              <a:t>اموال ، ماشين آلات و تجهيزات با ارزش بيش از 5000 دلار بعنوان دارائيهاي غيرجاري در صورت وضعيت مالي شناسايي ميشوند . </a:t>
            </a:r>
            <a:endParaRPr lang="en-US" sz="2400" b="1" dirty="0"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276993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marL="18892" indent="-18892"/>
            <a:r>
              <a:rPr lang="en-GB" sz="4000" smtClean="0"/>
              <a:t>Hyperinflation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91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5615691" cy="959447"/>
          </a:xfrm>
        </p:spPr>
        <p:txBody>
          <a:bodyPr anchor="ctr"/>
          <a:lstStyle/>
          <a:p>
            <a:pPr marL="18892" indent="-18892"/>
            <a:r>
              <a:rPr lang="en-US" smtClean="0">
                <a:solidFill>
                  <a:schemeClr val="tx1"/>
                </a:solidFill>
              </a:rPr>
              <a:t>Fixed assets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7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marL="18892" indent="-18892" algn="r"/>
            <a:r>
              <a:rPr lang="fa-IR" sz="4000" dirty="0" smtClean="0"/>
              <a:t>تورم </a:t>
            </a:r>
            <a:r>
              <a:rPr lang="fa-IR" sz="4000" dirty="0" smtClean="0"/>
              <a:t>بسیار </a:t>
            </a:r>
            <a:r>
              <a:rPr lang="fa-IR" sz="4000" dirty="0" smtClean="0"/>
              <a:t>بالا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30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PSAS 10 Financial Reporting in Hyperinflationary Economies</a:t>
            </a:r>
            <a:endParaRPr lang="nl-NL" altLang="nl-NL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68300" y="1308100"/>
            <a:ext cx="8775700" cy="5008563"/>
          </a:xfrm>
        </p:spPr>
        <p:txBody>
          <a:bodyPr/>
          <a:lstStyle/>
          <a:p>
            <a:r>
              <a:rPr lang="en-GB"/>
              <a:t>Prescribes reporting in the currency of a hyperinflationary </a:t>
            </a:r>
            <a:r>
              <a:rPr lang="en-GB" smtClean="0"/>
              <a:t>economy</a:t>
            </a:r>
            <a:endParaRPr lang="nl-NL"/>
          </a:p>
          <a:p>
            <a:r>
              <a:rPr lang="en-GB"/>
              <a:t>The financial statements of an entity that reports in the currency of a hyperinflationary economy should be stated in terms of the measuring unit current at the reporting </a:t>
            </a:r>
            <a:r>
              <a:rPr lang="en-GB" smtClean="0"/>
              <a:t>date</a:t>
            </a:r>
            <a:endParaRPr lang="en-GB"/>
          </a:p>
          <a:p>
            <a:r>
              <a:rPr lang="en-US"/>
              <a:t>The comparative figures for the previous period shall be stated in terms of the measuring unit current at the reporting </a:t>
            </a:r>
            <a:r>
              <a:rPr lang="en-US" smtClean="0"/>
              <a:t>date</a:t>
            </a:r>
            <a:endParaRPr lang="nl-NL"/>
          </a:p>
          <a:p>
            <a:endParaRPr lang="nl-NL" altLang="nl-NL" dirty="0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1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575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368300" y="185779"/>
            <a:ext cx="8391525" cy="1235247"/>
          </a:xfrm>
        </p:spPr>
        <p:txBody>
          <a:bodyPr/>
          <a:lstStyle/>
          <a:p>
            <a:pPr algn="r" rtl="1">
              <a:lnSpc>
                <a:spcPct val="150000"/>
              </a:lnSpc>
            </a:pPr>
            <a:r>
              <a:rPr lang="fa-IR" b="1" dirty="0" smtClean="0">
                <a:cs typeface="B Titr" pitchFamily="2" charset="-78"/>
              </a:rPr>
              <a:t>گزارشگری مالي در اقتصادهاي داراي تورم بسيار بالا بر مبناي استاندارد شماره 10 </a:t>
            </a:r>
            <a:r>
              <a:rPr lang="en-US" b="1" dirty="0" smtClean="0">
                <a:cs typeface="B Titr" pitchFamily="2" charset="-78"/>
              </a:rPr>
              <a:t>IPSAS </a:t>
            </a:r>
            <a:endParaRPr lang="nl-NL" altLang="nl-NL" dirty="0" smtClean="0">
              <a:cs typeface="B Titr" pitchFamily="2" charset="-78"/>
            </a:endParaRPr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108808" y="1419311"/>
            <a:ext cx="8775700" cy="5008563"/>
          </a:xfrm>
        </p:spPr>
        <p:txBody>
          <a:bodyPr/>
          <a:lstStyle/>
          <a:p>
            <a:pPr algn="just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توصيه  </a:t>
            </a:r>
            <a:r>
              <a:rPr lang="fa-IR" sz="2400" b="1" dirty="0">
                <a:cs typeface="B Lotus" pitchFamily="2" charset="-78"/>
              </a:rPr>
              <a:t>مي نمايد كه گزارش دهي بر مبناي واحد پول رايج در اقتصاد داراي تورم بالا باشد.</a:t>
            </a:r>
            <a:endParaRPr lang="en-US" sz="2400" b="1" dirty="0">
              <a:cs typeface="B Lotus" pitchFamily="2" charset="-78"/>
            </a:endParaRPr>
          </a:p>
          <a:p>
            <a:pPr algn="just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گزارشات </a:t>
            </a:r>
            <a:r>
              <a:rPr lang="fa-IR" sz="2400" b="1" dirty="0">
                <a:cs typeface="B Lotus" pitchFamily="2" charset="-78"/>
              </a:rPr>
              <a:t>مالي هر بنگاهي يا سازماني كه برمبناي پول رايج اقتصاد داراي تورم بسيار بالا </a:t>
            </a:r>
            <a:r>
              <a:rPr lang="fa-IR" sz="2400" b="1" dirty="0" smtClean="0">
                <a:cs typeface="B Lotus" pitchFamily="2" charset="-78"/>
              </a:rPr>
              <a:t>تهیه </a:t>
            </a:r>
            <a:r>
              <a:rPr lang="fa-IR" sz="2400" b="1" dirty="0">
                <a:cs typeface="B Lotus" pitchFamily="2" charset="-78"/>
              </a:rPr>
              <a:t>مي </a:t>
            </a:r>
            <a:r>
              <a:rPr lang="fa-IR" sz="2400" b="1" dirty="0" smtClean="0">
                <a:cs typeface="B Lotus" pitchFamily="2" charset="-78"/>
              </a:rPr>
              <a:t>گردد </a:t>
            </a:r>
            <a:r>
              <a:rPr lang="fa-IR" sz="2400" b="1" dirty="0">
                <a:cs typeface="B Lotus" pitchFamily="2" charset="-78"/>
              </a:rPr>
              <a:t>بايد براساس واحد اندازه گيري رايج در زمان گزارش دهي باشد . </a:t>
            </a:r>
            <a:endParaRPr lang="en-US" sz="2400" b="1" dirty="0">
              <a:cs typeface="B Lotus" pitchFamily="2" charset="-78"/>
            </a:endParaRPr>
          </a:p>
          <a:p>
            <a:pPr algn="just" rtl="1">
              <a:lnSpc>
                <a:spcPct val="150000"/>
              </a:lnSpc>
            </a:pPr>
            <a:r>
              <a:rPr lang="fa-IR" sz="2400" b="1" dirty="0" smtClean="0">
                <a:cs typeface="B Lotus" pitchFamily="2" charset="-78"/>
              </a:rPr>
              <a:t>اعداد </a:t>
            </a:r>
            <a:r>
              <a:rPr lang="fa-IR" sz="2400" b="1" dirty="0">
                <a:cs typeface="B Lotus" pitchFamily="2" charset="-78"/>
              </a:rPr>
              <a:t>و ارقام مقايسه اي دوره هاي قبل بايد بر مبناي واحدهاي اندازه گيري رايج در زمان گزارش دهي باشد . </a:t>
            </a:r>
            <a:endParaRPr lang="en-US" sz="2400" b="1" dirty="0">
              <a:cs typeface="B Lotus" pitchFamily="2" charset="-78"/>
            </a:endParaRPr>
          </a:p>
          <a:p>
            <a:pPr algn="just" rtl="1"/>
            <a:endParaRPr lang="nl-NL" dirty="0"/>
          </a:p>
          <a:p>
            <a:pPr algn="just"/>
            <a:endParaRPr lang="nl-NL" altLang="nl-NL" dirty="0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2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4928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n shall financial statements shall be restated in accordance with IPSAS 10? Indicators of hyperinflation include:</a:t>
            </a:r>
            <a:endParaRPr lang="nl-NL" altLang="nl-NL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68300" y="2029460"/>
            <a:ext cx="8775700" cy="5008563"/>
          </a:xfrm>
        </p:spPr>
        <p:txBody>
          <a:bodyPr/>
          <a:lstStyle/>
          <a:p>
            <a:r>
              <a:rPr lang="en-US" smtClean="0"/>
              <a:t>Population </a:t>
            </a:r>
            <a:r>
              <a:rPr lang="en-US"/>
              <a:t>keeps its wealth in non-monetary assets or in a stable foreign currency to maintain purchasing </a:t>
            </a:r>
            <a:r>
              <a:rPr lang="en-US" smtClean="0"/>
              <a:t>power</a:t>
            </a:r>
            <a:endParaRPr lang="en-US"/>
          </a:p>
          <a:p>
            <a:r>
              <a:rPr lang="en-US" smtClean="0"/>
              <a:t>Prices </a:t>
            </a:r>
            <a:r>
              <a:rPr lang="en-US"/>
              <a:t>are quoted in a foreign </a:t>
            </a:r>
            <a:r>
              <a:rPr lang="en-US" smtClean="0"/>
              <a:t>currency</a:t>
            </a:r>
            <a:endParaRPr lang="en-US"/>
          </a:p>
          <a:p>
            <a:r>
              <a:rPr lang="en-US" smtClean="0"/>
              <a:t>Interest </a:t>
            </a:r>
            <a:r>
              <a:rPr lang="en-US"/>
              <a:t>rates, wages, and prices are linked to a price </a:t>
            </a:r>
            <a:r>
              <a:rPr lang="en-US" smtClean="0"/>
              <a:t>index</a:t>
            </a:r>
            <a:endParaRPr lang="en-US"/>
          </a:p>
          <a:p>
            <a:r>
              <a:rPr lang="en-US"/>
              <a:t>The cumulative inflation rate over three years is approaching, or exceeds, 100</a:t>
            </a:r>
            <a:r>
              <a:rPr lang="en-US" smtClean="0"/>
              <a:t>%</a:t>
            </a:r>
            <a:endParaRPr lang="nl-NL" smtClean="0"/>
          </a:p>
          <a:p>
            <a:endParaRPr lang="nl-NL" altLang="nl-NL" dirty="0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3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293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185352" y="135925"/>
            <a:ext cx="8574474" cy="1359244"/>
          </a:xfrm>
        </p:spPr>
        <p:txBody>
          <a:bodyPr/>
          <a:lstStyle/>
          <a:p>
            <a:pPr algn="r" rtl="1">
              <a:lnSpc>
                <a:spcPct val="100000"/>
              </a:lnSpc>
            </a:pPr>
            <a:r>
              <a:rPr lang="fa-IR" b="1" dirty="0">
                <a:cs typeface="B Titr" pitchFamily="2" charset="-78"/>
              </a:rPr>
              <a:t>چه زماني گزارش </a:t>
            </a:r>
            <a:r>
              <a:rPr lang="fa-IR" b="1" dirty="0" smtClean="0">
                <a:cs typeface="B Titr" pitchFamily="2" charset="-78"/>
              </a:rPr>
              <a:t>مالي </a:t>
            </a:r>
            <a:r>
              <a:rPr lang="fa-IR" b="1" dirty="0">
                <a:cs typeface="B Titr" pitchFamily="2" charset="-78"/>
              </a:rPr>
              <a:t>بايد </a:t>
            </a:r>
            <a:r>
              <a:rPr lang="fa-IR" b="1" dirty="0" smtClean="0">
                <a:cs typeface="B Titr" pitchFamily="2" charset="-78"/>
              </a:rPr>
              <a:t>براساس استاندارد شماره  </a:t>
            </a:r>
            <a:r>
              <a:rPr lang="en-US" b="1" dirty="0">
                <a:cs typeface="B Titr" pitchFamily="2" charset="-78"/>
              </a:rPr>
              <a:t>IPSAS 10</a:t>
            </a:r>
            <a:r>
              <a:rPr lang="fa-IR" b="1" dirty="0">
                <a:cs typeface="B Titr" pitchFamily="2" charset="-78"/>
              </a:rPr>
              <a:t> مجدداً تنظيم </a:t>
            </a:r>
            <a:r>
              <a:rPr lang="fa-IR" b="1" dirty="0" smtClean="0">
                <a:cs typeface="B Titr" pitchFamily="2" charset="-78"/>
              </a:rPr>
              <a:t>گردند </a:t>
            </a:r>
            <a:r>
              <a:rPr lang="fa-IR" b="1" dirty="0">
                <a:cs typeface="B Titr" pitchFamily="2" charset="-78"/>
              </a:rPr>
              <a:t>؟</a:t>
            </a:r>
            <a:r>
              <a:rPr lang="en-US" b="1" dirty="0">
                <a:cs typeface="B Titr" pitchFamily="2" charset="-78"/>
              </a:rPr>
              <a:t/>
            </a:r>
            <a:br>
              <a:rPr lang="en-US" b="1" dirty="0">
                <a:cs typeface="B Titr" pitchFamily="2" charset="-78"/>
              </a:rPr>
            </a:br>
            <a:r>
              <a:rPr lang="fa-IR" b="1" dirty="0">
                <a:cs typeface="B Titr" pitchFamily="2" charset="-78"/>
              </a:rPr>
              <a:t>شاخص هاي تورم بسيار بالا عبارتند از :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207662" y="1695828"/>
            <a:ext cx="8775700" cy="3889427"/>
          </a:xfrm>
        </p:spPr>
        <p:txBody>
          <a:bodyPr/>
          <a:lstStyle/>
          <a:p>
            <a:pPr algn="r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جمعيت </a:t>
            </a:r>
            <a:r>
              <a:rPr lang="fa-IR" sz="2800" b="1" dirty="0">
                <a:cs typeface="B Lotus" pitchFamily="2" charset="-78"/>
              </a:rPr>
              <a:t>ثروت خود را به صورت دارايي هاي غير پولي و يا بصورت واحد پولي با ثبات خارجي نگه ميدارد تا قدرت خريد خود را حفظ نمايد . </a:t>
            </a:r>
            <a:endParaRPr lang="en-US" sz="2800" b="1" dirty="0">
              <a:cs typeface="B Lotus" pitchFamily="2" charset="-78"/>
            </a:endParaRPr>
          </a:p>
          <a:p>
            <a:pPr algn="r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قيمت </a:t>
            </a:r>
            <a:r>
              <a:rPr lang="fa-IR" sz="2800" b="1" dirty="0">
                <a:cs typeface="B Lotus" pitchFamily="2" charset="-78"/>
              </a:rPr>
              <a:t>ها به ارزهاي خارجي ذكر مي گردند . </a:t>
            </a:r>
            <a:endParaRPr lang="en-US" sz="2800" b="1" dirty="0">
              <a:cs typeface="B Lotus" pitchFamily="2" charset="-78"/>
            </a:endParaRPr>
          </a:p>
          <a:p>
            <a:pPr algn="r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ميزان </a:t>
            </a:r>
            <a:r>
              <a:rPr lang="fa-IR" sz="2800" b="1" dirty="0">
                <a:cs typeface="B Lotus" pitchFamily="2" charset="-78"/>
              </a:rPr>
              <a:t>سود ، بهره ، دستمزدها و قيمت ها همگي به شاخص قيمت مرتبط ميشوند . </a:t>
            </a:r>
            <a:endParaRPr lang="en-US" sz="2800" b="1" dirty="0">
              <a:cs typeface="B Lotus" pitchFamily="2" charset="-78"/>
            </a:endParaRPr>
          </a:p>
          <a:p>
            <a:pPr algn="r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مجموع </a:t>
            </a:r>
            <a:r>
              <a:rPr lang="fa-IR" sz="2800" b="1" dirty="0">
                <a:cs typeface="B Lotus" pitchFamily="2" charset="-78"/>
              </a:rPr>
              <a:t>نرخ تورم در طول سه سال نزديك به و يا فراتر از 100% ميباشد.</a:t>
            </a:r>
            <a:endParaRPr lang="en-US" sz="2800" b="1" dirty="0">
              <a:cs typeface="B Lotus" pitchFamily="2" charset="-78"/>
            </a:endParaRPr>
          </a:p>
          <a:p>
            <a:pPr algn="r" rtl="1">
              <a:lnSpc>
                <a:spcPct val="100000"/>
              </a:lnSpc>
            </a:pPr>
            <a:endParaRPr lang="nl-NL" altLang="nl-NL" sz="2800" dirty="0" smtClean="0">
              <a:cs typeface="B Lotus" pitchFamily="2" charset="-78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4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9390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ran is not a hyperinflationary economy</a:t>
            </a:r>
            <a:endParaRPr lang="nl-NL" altLang="nl-NL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5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0" y="1240631"/>
            <a:ext cx="7526020" cy="5591833"/>
          </a:xfrm>
        </p:spPr>
      </p:pic>
    </p:spTree>
    <p:extLst>
      <p:ext uri="{BB962C8B-B14F-4D97-AF65-F5344CB8AC3E}">
        <p14:creationId xmlns:p14="http://schemas.microsoft.com/office/powerpoint/2010/main" val="374681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318873" y="99283"/>
            <a:ext cx="8391525" cy="619125"/>
          </a:xfrm>
        </p:spPr>
        <p:txBody>
          <a:bodyPr/>
          <a:lstStyle/>
          <a:p>
            <a:pPr algn="ctr" rtl="1"/>
            <a:r>
              <a:rPr lang="fa-IR" dirty="0">
                <a:cs typeface="B Titr" pitchFamily="2" charset="-78"/>
              </a:rPr>
              <a:t>ايران يك اقتصاد داراي تورم بسيار بالا نيست </a:t>
            </a:r>
            <a:endParaRPr lang="nl-NL" altLang="nl-NL" dirty="0" smtClean="0">
              <a:cs typeface="B Titr" pitchFamily="2" charset="-78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6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871" y="771065"/>
            <a:ext cx="7960155" cy="5914395"/>
          </a:xfrm>
        </p:spPr>
      </p:pic>
      <p:sp>
        <p:nvSpPr>
          <p:cNvPr id="2" name="Rectangle 1"/>
          <p:cNvSpPr/>
          <p:nvPr/>
        </p:nvSpPr>
        <p:spPr bwMode="auto">
          <a:xfrm>
            <a:off x="1272758" y="914400"/>
            <a:ext cx="6561426" cy="3459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</a:bodyPr>
          <a:lstStyle/>
          <a:p>
            <a:pPr marL="190500" marR="0" indent="-190500" algn="l" defTabSz="914400" rtl="0" eaLnBrk="1" fontAlgn="base" latinLnBrk="0" hangingPunct="1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buClrTx/>
              <a:buSzTx/>
              <a:buFontTx/>
              <a:buNone/>
              <a:tabLst>
                <a:tab pos="5715000" algn="l"/>
              </a:tabLst>
            </a:pPr>
            <a:r>
              <a:rPr kumimoji="0" lang="fa-I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cs typeface="B Lotus" pitchFamily="2" charset="-78"/>
              </a:rPr>
              <a:t>نرخ</a:t>
            </a:r>
            <a:r>
              <a:rPr kumimoji="0" lang="fa-IR" sz="20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cs typeface="B Lotus" pitchFamily="2" charset="-78"/>
              </a:rPr>
              <a:t> های تورم در ایران از سال 2010 لغایت 2020 (در مقایسه با سال های قبل)</a:t>
            </a:r>
            <a:endParaRPr kumimoji="0" lang="fa-I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cs typeface="B Lotus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58612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marL="18892" indent="-18892"/>
            <a:r>
              <a:rPr lang="nl-NL" sz="4000" smtClean="0"/>
              <a:t>Tax asset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29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839511" y="2319982"/>
            <a:ext cx="7797861" cy="959447"/>
          </a:xfrm>
        </p:spPr>
        <p:txBody>
          <a:bodyPr anchor="ctr"/>
          <a:lstStyle/>
          <a:p>
            <a:pPr algn="r" rtl="1"/>
            <a:r>
              <a:rPr lang="fa-IR" sz="4000" b="1" dirty="0">
                <a:cs typeface="B Titr" pitchFamily="2" charset="-78"/>
              </a:rPr>
              <a:t>دارايي هاي مالياتي </a:t>
            </a:r>
            <a:endParaRPr lang="en-US" sz="4000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5926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smtClean="0"/>
              <a:t>Taxes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68300" y="1308100"/>
            <a:ext cx="8775700" cy="5008563"/>
          </a:xfrm>
        </p:spPr>
        <p:txBody>
          <a:bodyPr/>
          <a:lstStyle/>
          <a:p>
            <a:r>
              <a:rPr lang="en-US" altLang="nl-NL" dirty="0" smtClean="0"/>
              <a:t>An entity shall recognize an asset in respect of taxes when the taxable event occurs and the asset recognition criteria are met</a:t>
            </a:r>
          </a:p>
          <a:p>
            <a:r>
              <a:rPr lang="en-GB" altLang="nl-NL" dirty="0" smtClean="0"/>
              <a:t>Recognition criteria of an asset:</a:t>
            </a:r>
            <a:endParaRPr lang="nl-NL" altLang="nl-NL" dirty="0" smtClean="0"/>
          </a:p>
          <a:p>
            <a:pPr lvl="1"/>
            <a:r>
              <a:rPr lang="en-GB" altLang="nl-NL" dirty="0" smtClean="0"/>
              <a:t>probable that the revenue will flow to the entity; and</a:t>
            </a:r>
            <a:endParaRPr lang="nl-NL" altLang="nl-NL" dirty="0" smtClean="0"/>
          </a:p>
          <a:p>
            <a:pPr lvl="1"/>
            <a:r>
              <a:rPr lang="en-GB" altLang="nl-NL" dirty="0" smtClean="0"/>
              <a:t>the fair value of the asset can be </a:t>
            </a:r>
            <a:r>
              <a:rPr lang="en-GB" altLang="nl-NL" smtClean="0"/>
              <a:t>measured reliably</a:t>
            </a:r>
            <a:endParaRPr lang="en-GB" altLang="nl-NL" dirty="0" smtClean="0"/>
          </a:p>
          <a:p>
            <a:pPr lvl="1"/>
            <a:endParaRPr lang="en-US" altLang="nl-NL" dirty="0" smtClean="0"/>
          </a:p>
          <a:p>
            <a:endParaRPr lang="nl-NL" altLang="nl-NL" dirty="0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59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9738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5615691" cy="959447"/>
          </a:xfrm>
        </p:spPr>
        <p:txBody>
          <a:bodyPr anchor="ctr"/>
          <a:lstStyle/>
          <a:p>
            <a:pPr algn="r" rtl="1"/>
            <a:r>
              <a:rPr lang="fa-IR" b="1" dirty="0">
                <a:cs typeface="B Titr" pitchFamily="2" charset="-78"/>
              </a:rPr>
              <a:t>دارائي هاي ثابت </a:t>
            </a:r>
            <a:endParaRPr lang="en-US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6826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dirty="0">
                <a:cs typeface="B Titr" pitchFamily="2" charset="-78"/>
              </a:rPr>
              <a:t>ماليات ها </a:t>
            </a:r>
            <a:endParaRPr lang="nl-NL" altLang="nl-NL" dirty="0" smtClean="0">
              <a:cs typeface="B Titr" pitchFamily="2" charset="-78"/>
            </a:endParaRPr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68300" y="1308100"/>
            <a:ext cx="8775700" cy="5008563"/>
          </a:xfrm>
        </p:spPr>
        <p:txBody>
          <a:bodyPr/>
          <a:lstStyle/>
          <a:p>
            <a:pPr algn="just" rtl="1">
              <a:lnSpc>
                <a:spcPct val="100000"/>
              </a:lnSpc>
            </a:pPr>
            <a:r>
              <a:rPr lang="fa-IR" sz="3200" b="1" dirty="0" smtClean="0">
                <a:cs typeface="B Lotus" pitchFamily="2" charset="-78"/>
              </a:rPr>
              <a:t>از </a:t>
            </a:r>
            <a:r>
              <a:rPr lang="fa-IR" sz="3200" b="1" dirty="0">
                <a:cs typeface="B Lotus" pitchFamily="2" charset="-78"/>
              </a:rPr>
              <a:t>جنبه مالياتي ، يك سازمان مي تواند مالياتي را به عنوان درآمد مالياتي محسوب نمايد كه </a:t>
            </a:r>
            <a:r>
              <a:rPr lang="fa-IR" sz="3200" b="1" dirty="0" smtClean="0">
                <a:cs typeface="B Lotus" pitchFamily="2" charset="-78"/>
              </a:rPr>
              <a:t>معامله ای مشمول </a:t>
            </a:r>
            <a:r>
              <a:rPr lang="fa-IR" sz="3200" b="1" dirty="0">
                <a:cs typeface="B Lotus" pitchFamily="2" charset="-78"/>
              </a:rPr>
              <a:t>ماليات صورت گرفته باشد و معيار شناسايي دارايي نيز وجود داشته باشد . </a:t>
            </a:r>
            <a:endParaRPr lang="en-US" sz="3200" b="1" dirty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r>
              <a:rPr lang="fa-IR" sz="3200" b="1" dirty="0" smtClean="0">
                <a:cs typeface="B Lotus" pitchFamily="2" charset="-78"/>
              </a:rPr>
              <a:t>معيار </a:t>
            </a:r>
            <a:r>
              <a:rPr lang="fa-IR" sz="3200" b="1" dirty="0">
                <a:cs typeface="B Lotus" pitchFamily="2" charset="-78"/>
              </a:rPr>
              <a:t>شناسايي يك د ارايي </a:t>
            </a:r>
            <a:endParaRPr lang="fa-IR" sz="3200" b="1" dirty="0" smtClean="0">
              <a:cs typeface="B Lotus" pitchFamily="2" charset="-78"/>
            </a:endParaRPr>
          </a:p>
          <a:p>
            <a:pPr lvl="1" algn="just" rtl="1">
              <a:lnSpc>
                <a:spcPct val="100000"/>
              </a:lnSpc>
            </a:pPr>
            <a:r>
              <a:rPr lang="fa-IR" sz="3200" b="1" dirty="0" smtClean="0">
                <a:cs typeface="B Lotus" pitchFamily="2" charset="-78"/>
              </a:rPr>
              <a:t>احتمال </a:t>
            </a:r>
            <a:r>
              <a:rPr lang="fa-IR" sz="3200" b="1" dirty="0">
                <a:cs typeface="B Lotus" pitchFamily="2" charset="-78"/>
              </a:rPr>
              <a:t>اينكه درآمد به سمت سازمان جاري خواهد </a:t>
            </a:r>
            <a:r>
              <a:rPr lang="fa-IR" sz="3200" b="1" dirty="0" smtClean="0">
                <a:cs typeface="B Lotus" pitchFamily="2" charset="-78"/>
              </a:rPr>
              <a:t>شود و</a:t>
            </a:r>
          </a:p>
          <a:p>
            <a:pPr lvl="1" algn="just" rtl="1">
              <a:lnSpc>
                <a:spcPct val="100000"/>
              </a:lnSpc>
            </a:pPr>
            <a:r>
              <a:rPr lang="fa-IR" sz="3200" b="1" dirty="0" smtClean="0">
                <a:cs typeface="B Lotus" pitchFamily="2" charset="-78"/>
              </a:rPr>
              <a:t>ارزش </a:t>
            </a:r>
            <a:r>
              <a:rPr lang="fa-IR" sz="3200" b="1" dirty="0">
                <a:cs typeface="B Lotus" pitchFamily="2" charset="-78"/>
              </a:rPr>
              <a:t>عادلانه دارايي را مي توان با اطمينان محاسبه </a:t>
            </a:r>
            <a:r>
              <a:rPr lang="fa-IR" sz="3200" b="1" dirty="0" smtClean="0">
                <a:cs typeface="B Lotus" pitchFamily="2" charset="-78"/>
              </a:rPr>
              <a:t>نمود. </a:t>
            </a:r>
            <a:endParaRPr lang="en-US" sz="3200" b="1" dirty="0">
              <a:cs typeface="B Lotus" pitchFamily="2" charset="-78"/>
            </a:endParaRPr>
          </a:p>
          <a:p>
            <a:pPr lvl="1" algn="r" rtl="1"/>
            <a:endParaRPr lang="en-US" altLang="nl-NL" dirty="0" smtClean="0"/>
          </a:p>
          <a:p>
            <a:endParaRPr lang="nl-NL" altLang="nl-NL" dirty="0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ADD51443-833F-468D-B159-1C9C8AE44BA5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0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5632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axable</a:t>
            </a:r>
            <a:r>
              <a:rPr lang="nl-NL" dirty="0" smtClean="0"/>
              <a:t> event. </a:t>
            </a:r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examples</a:t>
            </a:r>
            <a:endParaRPr lang="nl-NL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/>
          </p:nvPr>
        </p:nvGraphicFramePr>
        <p:xfrm>
          <a:off x="500514" y="1806062"/>
          <a:ext cx="7950467" cy="3453603"/>
        </p:xfrm>
        <a:graphic>
          <a:graphicData uri="http://schemas.openxmlformats.org/drawingml/2006/table">
            <a:tbl>
              <a:tblPr/>
              <a:tblGrid>
                <a:gridCol w="2989129"/>
                <a:gridCol w="4961338"/>
              </a:tblGrid>
              <a:tr h="793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Corporate income tax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Earning of profit during the period by the company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Value added tax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Sale or purchase during the period by the taxpayer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Customs duty</a:t>
                      </a:r>
                      <a:endParaRPr kumimoji="0" lang="en-GB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Movement of dutiable goods or services across the customs boundary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Inheritance tax</a:t>
                      </a:r>
                      <a:endParaRPr kumimoji="0" lang="en-GB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Death of a person owning taxable property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901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dirty="0" smtClean="0">
                <a:cs typeface="B Titr" pitchFamily="2" charset="-78"/>
              </a:rPr>
              <a:t>رویدادهای مالیاتی – چند مثال</a:t>
            </a:r>
            <a:endParaRPr lang="nl-NL" dirty="0">
              <a:cs typeface="B Titr" pitchFamily="2" charset="-78"/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452220"/>
              </p:ext>
            </p:extLst>
          </p:nvPr>
        </p:nvGraphicFramePr>
        <p:xfrm>
          <a:off x="500514" y="1806062"/>
          <a:ext cx="7950467" cy="3172244"/>
        </p:xfrm>
        <a:graphic>
          <a:graphicData uri="http://schemas.openxmlformats.org/drawingml/2006/table">
            <a:tbl>
              <a:tblPr/>
              <a:tblGrid>
                <a:gridCol w="5702578"/>
                <a:gridCol w="2247889"/>
              </a:tblGrid>
              <a:tr h="793061"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كسب سود توسط شركت در يك دوره زماني خاص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اليات بر شركتها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خريد يا فروش در دوره خاص توسط ماليات دهنده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اليات ارزش افزوده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جابحايي كالاهاي مشمول عوارض و يا خدمات بين مرزهاي گمركي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عوارض گمركي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61"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رگ فردي كه داراي دارايي مشمول ماليات باشد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اليات بر ارث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929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/>
              <a:t>M</a:t>
            </a:r>
            <a:r>
              <a:rPr lang="en-US" altLang="nl-NL" dirty="0" smtClean="0"/>
              <a:t>easurement of tax assets</a:t>
            </a:r>
            <a:endParaRPr lang="nl-NL" altLang="nl-NL" dirty="0" smtClean="0"/>
          </a:p>
        </p:txBody>
      </p:sp>
      <p:sp>
        <p:nvSpPr>
          <p:cNvPr id="37891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altLang="nl-NL" dirty="0" err="1" smtClean="0"/>
              <a:t>Assets</a:t>
            </a:r>
            <a:r>
              <a:rPr lang="nl-NL" altLang="nl-NL" dirty="0" smtClean="0"/>
              <a:t> </a:t>
            </a:r>
            <a:r>
              <a:rPr lang="nl-NL" altLang="nl-NL" dirty="0" err="1" smtClean="0"/>
              <a:t>arising</a:t>
            </a:r>
            <a:r>
              <a:rPr lang="nl-NL" altLang="nl-NL" dirty="0" smtClean="0"/>
              <a:t> </a:t>
            </a:r>
            <a:r>
              <a:rPr lang="nl-NL" altLang="nl-NL" dirty="0" err="1" smtClean="0"/>
              <a:t>from</a:t>
            </a:r>
            <a:r>
              <a:rPr lang="nl-NL" altLang="nl-NL" dirty="0" smtClean="0"/>
              <a:t> </a:t>
            </a:r>
            <a:r>
              <a:rPr lang="en-US" altLang="nl-NL" dirty="0" smtClean="0"/>
              <a:t>taxation are measured at the best estimate of the inflow of resources to the entity</a:t>
            </a:r>
          </a:p>
          <a:p>
            <a:r>
              <a:rPr lang="en-US" altLang="nl-NL" dirty="0" smtClean="0"/>
              <a:t>Recognition of tax receivable should not wait until taxpayer submits tax return </a:t>
            </a:r>
          </a:p>
          <a:p>
            <a:r>
              <a:rPr lang="en-US" altLang="nl-NL" dirty="0" smtClean="0"/>
              <a:t>Government should develop accounting policies for the measurement of assets arising from taxation transactions</a:t>
            </a:r>
            <a:endParaRPr lang="nl-NL" altLang="nl-NL" dirty="0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8B8DA91-CADF-4087-A8B9-7CDAA5DFFC42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3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19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اندازه گيري دارايي هاي مالياتي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7891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just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دارايي </a:t>
            </a:r>
            <a:r>
              <a:rPr lang="fa-IR" sz="2800" b="1" dirty="0">
                <a:cs typeface="B Lotus" pitchFamily="2" charset="-78"/>
              </a:rPr>
              <a:t>هايي كه به واسطه ماليات </a:t>
            </a:r>
            <a:r>
              <a:rPr lang="fa-IR" sz="2800" b="1" dirty="0" smtClean="0">
                <a:cs typeface="B Lotus" pitchFamily="2" charset="-78"/>
              </a:rPr>
              <a:t>حاصل شده باشند </a:t>
            </a:r>
            <a:r>
              <a:rPr lang="fa-IR" sz="2800" b="1" dirty="0">
                <a:cs typeface="B Lotus" pitchFamily="2" charset="-78"/>
              </a:rPr>
              <a:t>از طريق بهترين تخمين ورود منابع به سازمان اندازه گيري مي شوند . </a:t>
            </a:r>
            <a:endParaRPr lang="fa-IR" sz="2800" b="1" dirty="0" smtClean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800" b="1" dirty="0" smtClean="0">
                <a:cs typeface="B Lotus" pitchFamily="2" charset="-78"/>
              </a:rPr>
              <a:t>شناسایی مالیات های دریافتنی نباید تا زمان ارائه اظهارنامه مالیاتی توسط مودیان معطل بمانند.</a:t>
            </a:r>
            <a:endParaRPr lang="en-US" sz="2800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800" b="1" dirty="0">
                <a:cs typeface="B Lotus" pitchFamily="2" charset="-78"/>
              </a:rPr>
              <a:t>دولت بايد به تدوين سياست هاي حسابداري به منظور اندازه گيري دارايي هايي كه از طريق داد و ستد هاي مالياتي به وجود مي آيند بپردازد . </a:t>
            </a:r>
            <a:endParaRPr lang="en-US" sz="2800" b="1" dirty="0">
              <a:cs typeface="B Lotus" pitchFamily="2" charset="-78"/>
            </a:endParaRPr>
          </a:p>
          <a:p>
            <a:pPr algn="r" rtl="1"/>
            <a:endParaRPr lang="nl-NL" altLang="nl-NL" dirty="0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8B8DA91-CADF-4087-A8B9-7CDAA5DFFC42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4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6097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dirty="0" smtClean="0"/>
              <a:t>Tax gap</a:t>
            </a:r>
            <a:endParaRPr lang="nl-NL" altLang="nl-NL" dirty="0" smtClean="0"/>
          </a:p>
        </p:txBody>
      </p:sp>
      <p:sp>
        <p:nvSpPr>
          <p:cNvPr id="37891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x gap: difference between what is legally due under the law and what the government will be able to </a:t>
            </a:r>
            <a:r>
              <a:rPr lang="en-US" dirty="0" smtClean="0"/>
              <a:t>collect (e.g. smuggling)</a:t>
            </a:r>
            <a:endParaRPr lang="nl-NL" altLang="nl-NL" dirty="0"/>
          </a:p>
          <a:p>
            <a:endParaRPr lang="nl-NL" altLang="nl-NL" dirty="0"/>
          </a:p>
          <a:p>
            <a:endParaRPr lang="nl-NL" altLang="nl-NL" dirty="0" smtClean="0"/>
          </a:p>
          <a:p>
            <a:endParaRPr lang="nl-NL" altLang="nl-NL" dirty="0"/>
          </a:p>
          <a:p>
            <a:endParaRPr lang="nl-NL" altLang="nl-NL" dirty="0" smtClean="0"/>
          </a:p>
          <a:p>
            <a:r>
              <a:rPr lang="nl-NL" altLang="nl-NL" dirty="0"/>
              <a:t>Does the </a:t>
            </a:r>
            <a:r>
              <a:rPr lang="nl-NL" altLang="nl-NL" dirty="0" err="1"/>
              <a:t>government</a:t>
            </a:r>
            <a:r>
              <a:rPr lang="nl-NL" altLang="nl-NL" dirty="0"/>
              <a:t> have to </a:t>
            </a:r>
            <a:r>
              <a:rPr lang="nl-NL" altLang="nl-NL" dirty="0" err="1"/>
              <a:t>gross</a:t>
            </a:r>
            <a:r>
              <a:rPr lang="nl-NL" altLang="nl-NL" dirty="0"/>
              <a:t> up </a:t>
            </a:r>
            <a:r>
              <a:rPr lang="nl-NL" altLang="nl-NL" dirty="0" err="1"/>
              <a:t>estimated</a:t>
            </a:r>
            <a:r>
              <a:rPr lang="nl-NL" altLang="nl-NL" dirty="0"/>
              <a:t> </a:t>
            </a:r>
            <a:r>
              <a:rPr lang="nl-NL" altLang="nl-NL" dirty="0" err="1"/>
              <a:t>taxes</a:t>
            </a:r>
            <a:r>
              <a:rPr lang="nl-NL" altLang="nl-NL" dirty="0"/>
              <a:t> </a:t>
            </a:r>
            <a:r>
              <a:rPr lang="nl-NL" altLang="nl-NL" dirty="0" err="1"/>
              <a:t>revenues</a:t>
            </a:r>
            <a:r>
              <a:rPr lang="nl-NL" altLang="nl-NL" dirty="0"/>
              <a:t> and </a:t>
            </a:r>
            <a:r>
              <a:rPr lang="nl-NL" altLang="nl-NL" dirty="0" err="1"/>
              <a:t>deduct</a:t>
            </a:r>
            <a:r>
              <a:rPr lang="nl-NL" altLang="nl-NL" dirty="0"/>
              <a:t> tax </a:t>
            </a:r>
            <a:r>
              <a:rPr lang="nl-NL" altLang="nl-NL" dirty="0" smtClean="0"/>
              <a:t>gap </a:t>
            </a:r>
            <a:r>
              <a:rPr lang="nl-NL" altLang="nl-NL" dirty="0"/>
              <a:t>(</a:t>
            </a:r>
            <a:r>
              <a:rPr lang="nl-NL" altLang="nl-NL" dirty="0" err="1"/>
              <a:t>see</a:t>
            </a:r>
            <a:r>
              <a:rPr lang="nl-NL" altLang="nl-NL" dirty="0"/>
              <a:t> </a:t>
            </a:r>
            <a:r>
              <a:rPr lang="nl-NL" altLang="nl-NL" dirty="0" err="1"/>
              <a:t>table</a:t>
            </a:r>
            <a:r>
              <a:rPr lang="nl-NL" altLang="nl-NL" dirty="0"/>
              <a:t>)?</a:t>
            </a:r>
          </a:p>
          <a:p>
            <a:r>
              <a:rPr lang="nl-NL" altLang="nl-NL" dirty="0" smtClean="0"/>
              <a:t>No: tax gap is </a:t>
            </a:r>
            <a:r>
              <a:rPr lang="nl-NL" altLang="nl-NL" dirty="0" err="1" smtClean="0"/>
              <a:t>not</a:t>
            </a:r>
            <a:r>
              <a:rPr lang="nl-NL" altLang="nl-NL" dirty="0" smtClean="0"/>
              <a:t> </a:t>
            </a:r>
            <a:r>
              <a:rPr lang="nl-NL" altLang="nl-NL" dirty="0" err="1" smtClean="0"/>
              <a:t>reliably</a:t>
            </a:r>
            <a:r>
              <a:rPr lang="nl-NL" altLang="nl-NL" dirty="0" smtClean="0"/>
              <a:t> </a:t>
            </a:r>
            <a:r>
              <a:rPr lang="nl-NL" altLang="nl-NL" err="1" smtClean="0"/>
              <a:t>measurable</a:t>
            </a:r>
            <a:r>
              <a:rPr lang="nl-NL" altLang="nl-NL" smtClean="0"/>
              <a:t>.</a:t>
            </a:r>
            <a:endParaRPr lang="nl-NL" altLang="nl-NL" dirty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8B8DA91-CADF-4087-A8B9-7CDAA5DFFC42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5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/>
          </p:nvPr>
        </p:nvGraphicFramePr>
        <p:xfrm>
          <a:off x="530995" y="2418870"/>
          <a:ext cx="6006163" cy="1296000"/>
        </p:xfrm>
        <a:graphic>
          <a:graphicData uri="http://schemas.openxmlformats.org/drawingml/2006/table">
            <a:tbl>
              <a:tblPr/>
              <a:tblGrid>
                <a:gridCol w="3868376"/>
                <a:gridCol w="2137787"/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Gross tax revenues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3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ax gap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10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Net tax revenues</a:t>
                      </a:r>
                      <a:endParaRPr kumimoji="0" lang="en-GB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0949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شكاف مالياتي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7891" name="Content Placeholder 6"/>
          <p:cNvSpPr>
            <a:spLocks noGrp="1"/>
          </p:cNvSpPr>
          <p:nvPr>
            <p:ph idx="1"/>
          </p:nvPr>
        </p:nvSpPr>
        <p:spPr>
          <a:xfrm>
            <a:off x="197708" y="852616"/>
            <a:ext cx="8565292" cy="5464047"/>
          </a:xfrm>
        </p:spPr>
        <p:txBody>
          <a:bodyPr/>
          <a:lstStyle/>
          <a:p>
            <a:pPr algn="just" rtl="1">
              <a:lnSpc>
                <a:spcPct val="100000"/>
              </a:lnSpc>
            </a:pPr>
            <a:r>
              <a:rPr lang="fa-IR" sz="2400" b="1" dirty="0">
                <a:cs typeface="B Lotus" pitchFamily="2" charset="-78"/>
              </a:rPr>
              <a:t>شكاف مالياتي : تفاوت بين آنچه از لحاظ قانوني بايد جمع آوري گردد با آنچه كه دولت </a:t>
            </a:r>
            <a:r>
              <a:rPr lang="fa-IR" sz="2400" b="1" dirty="0">
                <a:cs typeface="B Lotus" pitchFamily="2" charset="-78"/>
              </a:rPr>
              <a:t>ميتواند جمع آوري </a:t>
            </a:r>
            <a:r>
              <a:rPr lang="fa-IR" sz="2400" b="1" dirty="0">
                <a:cs typeface="B Lotus" pitchFamily="2" charset="-78"/>
              </a:rPr>
              <a:t>نمايد ( براي مثال قاچاق </a:t>
            </a:r>
            <a:r>
              <a:rPr lang="fa-IR" sz="2400" b="1" dirty="0" smtClean="0">
                <a:cs typeface="B Lotus" pitchFamily="2" charset="-78"/>
              </a:rPr>
              <a:t>)</a:t>
            </a:r>
          </a:p>
          <a:p>
            <a:pPr algn="just" rtl="1">
              <a:lnSpc>
                <a:spcPct val="100000"/>
              </a:lnSpc>
            </a:pPr>
            <a:endParaRPr lang="en-US" sz="2400" b="1" dirty="0">
              <a:cs typeface="B Lotus" pitchFamily="2" charset="-78"/>
            </a:endParaRPr>
          </a:p>
          <a:p>
            <a:endParaRPr lang="nl-NL" altLang="nl-NL" dirty="0"/>
          </a:p>
          <a:p>
            <a:endParaRPr lang="nl-NL" altLang="nl-NL" dirty="0" smtClean="0"/>
          </a:p>
          <a:p>
            <a:endParaRPr lang="nl-NL" altLang="nl-NL" dirty="0"/>
          </a:p>
          <a:p>
            <a:endParaRPr lang="nl-NL" altLang="nl-NL" dirty="0" smtClean="0"/>
          </a:p>
          <a:p>
            <a:pPr algn="r" rtl="1"/>
            <a:r>
              <a:rPr lang="fa-IR" sz="2400" b="1" dirty="0">
                <a:cs typeface="B Lotus" pitchFamily="2" charset="-78"/>
              </a:rPr>
              <a:t>آيا </a:t>
            </a:r>
            <a:r>
              <a:rPr lang="fa-IR" sz="2400" b="1" dirty="0">
                <a:cs typeface="B Lotus" pitchFamily="2" charset="-78"/>
              </a:rPr>
              <a:t>دولت بايد ناخالص درآمدهاي مالياتي را جمع زده شكاف مالياتي را از آن كم </a:t>
            </a:r>
            <a:r>
              <a:rPr lang="fa-IR" sz="2400" b="1" dirty="0" smtClean="0">
                <a:cs typeface="B Lotus" pitchFamily="2" charset="-78"/>
              </a:rPr>
              <a:t>كند.</a:t>
            </a:r>
            <a:endParaRPr lang="en-US" sz="2400" b="1" dirty="0">
              <a:cs typeface="B Lotus" pitchFamily="2" charset="-78"/>
            </a:endParaRPr>
          </a:p>
          <a:p>
            <a:pPr algn="r" rtl="1"/>
            <a:r>
              <a:rPr lang="fa-IR" sz="2400" b="1" dirty="0">
                <a:cs typeface="B Lotus" pitchFamily="2" charset="-78"/>
              </a:rPr>
              <a:t>خير </a:t>
            </a:r>
            <a:r>
              <a:rPr lang="fa-IR" sz="2400" b="1" dirty="0">
                <a:cs typeface="B Lotus" pitchFamily="2" charset="-78"/>
              </a:rPr>
              <a:t>، شكاف مالياتي را نميتوان با دقت اندازه گيري نمود. </a:t>
            </a:r>
            <a:endParaRPr lang="en-US" sz="2400" b="1" dirty="0">
              <a:cs typeface="B Lotus" pitchFamily="2" charset="-78"/>
            </a:endParaRPr>
          </a:p>
          <a:p>
            <a:pPr algn="r" rtl="1"/>
            <a:endParaRPr lang="nl-NL" altLang="nl-NL" sz="2400" b="1" dirty="0">
              <a:cs typeface="B Lotus" pitchFamily="2" charset="-78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8B8DA91-CADF-4087-A8B9-7CDAA5DFFC42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6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583085"/>
              </p:ext>
            </p:extLst>
          </p:nvPr>
        </p:nvGraphicFramePr>
        <p:xfrm>
          <a:off x="1828455" y="1801032"/>
          <a:ext cx="6006163" cy="1426464"/>
        </p:xfrm>
        <a:graphic>
          <a:graphicData uri="http://schemas.openxmlformats.org/drawingml/2006/table">
            <a:tbl>
              <a:tblPr/>
              <a:tblGrid>
                <a:gridCol w="2941254"/>
                <a:gridCol w="3064909"/>
              </a:tblGrid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30</a:t>
                      </a:r>
                      <a:endParaRPr lang="en-US" sz="24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درآمد ناخالص مالياتي </a:t>
                      </a:r>
                      <a:endParaRPr lang="en-US" sz="2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0</a:t>
                      </a:r>
                      <a:endParaRPr lang="en-US" sz="24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شكاف مالياتي </a:t>
                      </a:r>
                      <a:endParaRPr lang="en-US" sz="24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20</a:t>
                      </a:r>
                      <a:endParaRPr lang="en-US" sz="2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خالص درآمد مالياتي </a:t>
                      </a:r>
                      <a:endParaRPr lang="en-US" sz="2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2285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NL" smtClean="0"/>
              <a:t>Statistical models will </a:t>
            </a:r>
            <a:r>
              <a:rPr lang="en-US" altLang="nl-NL" dirty="0" smtClean="0"/>
              <a:t>take into account:</a:t>
            </a:r>
            <a:endParaRPr lang="nl-NL" altLang="nl-NL" dirty="0" smtClean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nl-NL" dirty="0" smtClean="0"/>
              <a:t>Preliminary estimates submitted by tax payers during the period</a:t>
            </a:r>
          </a:p>
          <a:p>
            <a:r>
              <a:rPr lang="en-US" altLang="nl-NL" dirty="0" smtClean="0"/>
              <a:t>Macro-economic estimates of company profits</a:t>
            </a:r>
          </a:p>
          <a:p>
            <a:r>
              <a:rPr lang="en-US" altLang="nl-NL" dirty="0" smtClean="0"/>
              <a:t>Experience from previous years</a:t>
            </a: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6DB0058-EF17-48E1-B581-A4A32BA55B3B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7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000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fa-IR" dirty="0">
                <a:cs typeface="B Titr" pitchFamily="2" charset="-78"/>
              </a:rPr>
              <a:t>مدل هاي آماري موارد زير را لحاظ خواهند نمود: </a:t>
            </a:r>
            <a:endParaRPr lang="nl-NL" altLang="nl-NL" dirty="0" smtClean="0">
              <a:cs typeface="B Titr" pitchFamily="2" charset="-78"/>
            </a:endParaRPr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just" rtl="1">
              <a:lnSpc>
                <a:spcPct val="100000"/>
              </a:lnSpc>
            </a:pPr>
            <a:r>
              <a:rPr lang="fa-IR" sz="2400" b="1" dirty="0">
                <a:cs typeface="B Lotus" pitchFamily="2" charset="-78"/>
              </a:rPr>
              <a:t>تخمين هاي اوليه كه توسط خود موديان مالياتي در طول دوره اظهار شده است . </a:t>
            </a:r>
            <a:endParaRPr lang="en-US" sz="2400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400" b="1" dirty="0">
                <a:cs typeface="B Lotus" pitchFamily="2" charset="-78"/>
              </a:rPr>
              <a:t>تخمين اقتصاد كلان سودهاي شركت </a:t>
            </a:r>
            <a:endParaRPr lang="en-US" sz="2400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sz="2400" b="1" dirty="0">
                <a:cs typeface="B Lotus" pitchFamily="2" charset="-78"/>
              </a:rPr>
              <a:t>تجربه سالهاي گذشته </a:t>
            </a:r>
            <a:endParaRPr lang="en-US" sz="2400" b="1" dirty="0">
              <a:cs typeface="B Lotus" pitchFamily="2" charset="-78"/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6DB0058-EF17-48E1-B581-A4A32BA55B3B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8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6651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ax </a:t>
            </a:r>
            <a:r>
              <a:rPr lang="nl-NL" dirty="0" err="1"/>
              <a:t>receivable</a:t>
            </a:r>
            <a:r>
              <a:rPr lang="nl-NL" dirty="0"/>
              <a:t> in </a:t>
            </a:r>
            <a:r>
              <a:rPr lang="nl-NL" dirty="0" smtClean="0"/>
              <a:t>UK</a:t>
            </a:r>
            <a:br>
              <a:rPr lang="nl-NL" dirty="0" smtClean="0"/>
            </a:br>
            <a:r>
              <a:rPr lang="nl-NL" dirty="0" smtClean="0"/>
              <a:t>(2013/2014) </a:t>
            </a:r>
            <a:endParaRPr lang="nl-NL" altLang="nl-NL" dirty="0" smtClean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b="1" dirty="0" smtClean="0"/>
              <a:t>Accrued tax revenue:</a:t>
            </a:r>
            <a:r>
              <a:rPr lang="en-US" dirty="0" smtClean="0"/>
              <a:t> not yet due (</a:t>
            </a:r>
            <a:r>
              <a:rPr lang="en-US"/>
              <a:t>estimated </a:t>
            </a:r>
            <a:r>
              <a:rPr lang="en-US" smtClean="0"/>
              <a:t>using </a:t>
            </a:r>
            <a:r>
              <a:rPr lang="en-US"/>
              <a:t>statistical </a:t>
            </a:r>
            <a:r>
              <a:rPr lang="en-US" smtClean="0"/>
              <a:t>models)</a:t>
            </a:r>
            <a:endParaRPr lang="nl-NL" dirty="0"/>
          </a:p>
          <a:p>
            <a:r>
              <a:rPr lang="en-US" b="1" dirty="0" smtClean="0"/>
              <a:t>Taxation </a:t>
            </a:r>
            <a:r>
              <a:rPr lang="en-US" b="1" dirty="0"/>
              <a:t>and duties </a:t>
            </a:r>
            <a:r>
              <a:rPr lang="en-US" b="1" dirty="0" smtClean="0"/>
              <a:t>due:</a:t>
            </a:r>
            <a:r>
              <a:rPr lang="en-US" dirty="0" smtClean="0"/>
              <a:t> amounts due </a:t>
            </a:r>
            <a:r>
              <a:rPr lang="en-US" dirty="0"/>
              <a:t>from taxpayers (</a:t>
            </a:r>
            <a:r>
              <a:rPr lang="en-US" dirty="0" smtClean="0"/>
              <a:t>liability </a:t>
            </a:r>
            <a:r>
              <a:rPr lang="en-US" dirty="0"/>
              <a:t>has been established but payment has not yet </a:t>
            </a:r>
            <a:r>
              <a:rPr lang="en-US" dirty="0" smtClean="0"/>
              <a:t>been </a:t>
            </a:r>
            <a:r>
              <a:rPr lang="en-US" smtClean="0"/>
              <a:t>received)</a:t>
            </a:r>
            <a:endParaRPr 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6DB0058-EF17-48E1-B581-A4A32BA55B3B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69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/>
          </p:nvPr>
        </p:nvGraphicFramePr>
        <p:xfrm>
          <a:off x="500515" y="1671308"/>
          <a:ext cx="7863839" cy="1728000"/>
        </p:xfrm>
        <a:graphic>
          <a:graphicData uri="http://schemas.openxmlformats.org/drawingml/2006/table">
            <a:tbl>
              <a:tblPr/>
              <a:tblGrid>
                <a:gridCol w="6179418"/>
                <a:gridCol w="1684421"/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billion £</a:t>
                      </a:r>
                      <a:endParaRPr kumimoji="0" lang="en-US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Accrued</a:t>
                      </a: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 tax </a:t>
                      </a: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revenue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8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Taxation</a:t>
                      </a: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and </a:t>
                      </a: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duties</a:t>
                      </a: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due</a:t>
                      </a: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26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ax asset on balance sheet</a:t>
                      </a:r>
                      <a:endParaRPr kumimoji="0" lang="en-GB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11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10527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Mapping</a:t>
            </a:r>
            <a:r>
              <a:rPr lang="nl-NL"/>
              <a:t> of </a:t>
            </a:r>
            <a:r>
              <a:rPr lang="nl-NL" err="1" smtClean="0"/>
              <a:t>two</a:t>
            </a:r>
            <a:r>
              <a:rPr lang="nl-NL" smtClean="0"/>
              <a:t> </a:t>
            </a:r>
            <a:r>
              <a:rPr lang="nl-NL" err="1" smtClean="0"/>
              <a:t>classifications</a:t>
            </a:r>
            <a:r>
              <a:rPr lang="nl-NL" smtClean="0"/>
              <a:t>: Iran-IPSAS</a:t>
            </a:r>
            <a:endParaRPr lang="nl-NL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9920541"/>
              </p:ext>
            </p:extLst>
          </p:nvPr>
        </p:nvGraphicFramePr>
        <p:xfrm>
          <a:off x="368300" y="820542"/>
          <a:ext cx="8125459" cy="5438018"/>
        </p:xfrm>
        <a:graphic>
          <a:graphicData uri="http://schemas.openxmlformats.org/drawingml/2006/table">
            <a:tbl>
              <a:tblPr/>
              <a:tblGrid>
                <a:gridCol w="582421"/>
                <a:gridCol w="1026774"/>
                <a:gridCol w="1772269"/>
                <a:gridCol w="1453977"/>
                <a:gridCol w="1597116"/>
                <a:gridCol w="1692902"/>
              </a:tblGrid>
              <a:tr h="547856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Iran</a:t>
                      </a:r>
                    </a:p>
                  </a:txBody>
                  <a:tcPr marL="68580" marR="68580" marT="34290" marB="34290" vert="vert27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C2678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IPSA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378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IPSAS 17 Property, Plant and Equipment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SAS 16 Investment Proper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SAS 12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ventories</a:t>
                      </a: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495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vert="vert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Immovable</a:t>
                      </a: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nl-NL" sz="1200" b="0" i="0" u="none" strike="noStrike" cap="none" normalizeH="0" baseline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assets</a:t>
                      </a: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Land and building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government office buildings, </a:t>
                      </a:r>
                      <a:r>
                        <a:rPr kumimoji="0" lang="nl-NL" sz="1200" b="0" i="0" u="none" strike="noStrike" cap="none" normalizeH="0" baseline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s</a:t>
                      </a: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ocial </a:t>
                      </a:r>
                      <a:r>
                        <a:rPr kumimoji="0" lang="nl-NL" sz="1200" b="0" i="0" u="none" strike="noStrike" cap="none" normalizeH="0" baseline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housing</a:t>
                      </a: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perty hel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rease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ntal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ome</a:t>
                      </a: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and and buildings hel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sal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821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Movable asset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capital good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vehicles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computers, furnitur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8212"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non-capital (c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onsumable) goods</a:t>
                      </a: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mmunition, </a:t>
                      </a:r>
                      <a:b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pare part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8499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kern="1200" cap="none" normalizeH="0" baseline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Negotiable</a:t>
                      </a:r>
                      <a:r>
                        <a:rPr kumimoji="0" lang="nl-NL" sz="1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paper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200" b="0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unissued currency, passports, stamp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892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ماليات  دريافتي در انگلستان 2014 – 2013 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rtl="1">
              <a:lnSpc>
                <a:spcPct val="100000"/>
              </a:lnSpc>
            </a:pPr>
            <a:endParaRPr lang="en-US" dirty="0" smtClean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endParaRPr lang="en-US" dirty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endParaRPr lang="en-US" dirty="0" smtClean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endParaRPr lang="en-US" dirty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endParaRPr lang="en-US" dirty="0" smtClean="0">
              <a:cs typeface="B Lotus" pitchFamily="2" charset="-78"/>
            </a:endParaRPr>
          </a:p>
          <a:p>
            <a:pPr algn="just" rtl="1">
              <a:lnSpc>
                <a:spcPct val="100000"/>
              </a:lnSpc>
            </a:pPr>
            <a:endParaRPr lang="en-US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b="1" dirty="0">
                <a:cs typeface="B Titr" pitchFamily="2" charset="-78"/>
              </a:rPr>
              <a:t>درآمد مالياتي تعهدي </a:t>
            </a:r>
            <a:r>
              <a:rPr lang="fa-IR" b="1" dirty="0">
                <a:cs typeface="B Lotus" pitchFamily="2" charset="-78"/>
              </a:rPr>
              <a:t>: هنوز به زمان سررسيد نرسيده است ( با استفاده از مدل هاي آماري تخمين زده ميشود )</a:t>
            </a:r>
            <a:endParaRPr lang="en-US" b="1" dirty="0">
              <a:cs typeface="B Lotus" pitchFamily="2" charset="-78"/>
            </a:endParaRPr>
          </a:p>
          <a:p>
            <a:pPr lvl="0" algn="just" rtl="1">
              <a:lnSpc>
                <a:spcPct val="100000"/>
              </a:lnSpc>
            </a:pPr>
            <a:r>
              <a:rPr lang="fa-IR" b="1" dirty="0">
                <a:cs typeface="B Titr" pitchFamily="2" charset="-78"/>
              </a:rPr>
              <a:t>ماليات و </a:t>
            </a:r>
            <a:r>
              <a:rPr lang="fa-IR" b="1" dirty="0" smtClean="0">
                <a:cs typeface="B Titr" pitchFamily="2" charset="-78"/>
              </a:rPr>
              <a:t>عوارضی </a:t>
            </a:r>
            <a:r>
              <a:rPr lang="fa-IR" b="1" dirty="0">
                <a:cs typeface="B Titr" pitchFamily="2" charset="-78"/>
              </a:rPr>
              <a:t>كه سررسيد آن رسيده است </a:t>
            </a:r>
            <a:r>
              <a:rPr lang="fa-IR" b="1" dirty="0">
                <a:cs typeface="B Lotus" pitchFamily="2" charset="-78"/>
              </a:rPr>
              <a:t>: مبالغي كه ماليات دهندگان بايد پرداخت نمايند ( تعهد بوجود آمده است ولي پرداخت هنوز صورت نگرفته است ).</a:t>
            </a:r>
            <a:endParaRPr lang="en-US" b="1" dirty="0">
              <a:cs typeface="B Lotus" pitchFamily="2" charset="-78"/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1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37000"/>
              </a:spcAft>
              <a:defRPr sz="20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86DB0058-EF17-48E1-B581-A4A32BA55B3B}" type="slidenum">
              <a:rPr lang="nl-NL" altLang="nl-NL">
                <a:solidFill>
                  <a:srgbClr val="0C2678"/>
                </a:solidFill>
                <a:latin typeface="Arial" panose="020B0604020202020204" pitchFamily="34" charset="0"/>
              </a:rPr>
              <a:pPr eaLnBrk="1" hangingPunct="1"/>
              <a:t>70</a:t>
            </a:fld>
            <a:endParaRPr lang="nl-NL" altLang="nl-NL">
              <a:solidFill>
                <a:srgbClr val="0C2678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768361"/>
              </p:ext>
            </p:extLst>
          </p:nvPr>
        </p:nvGraphicFramePr>
        <p:xfrm>
          <a:off x="500515" y="1671308"/>
          <a:ext cx="7863839" cy="1874520"/>
        </p:xfrm>
        <a:graphic>
          <a:graphicData uri="http://schemas.openxmlformats.org/drawingml/2006/table">
            <a:tbl>
              <a:tblPr/>
              <a:tblGrid>
                <a:gridCol w="3960274"/>
                <a:gridCol w="3903565"/>
              </a:tblGrid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ميليارد پوند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شرح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89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درآمد مالياتي تعهدي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26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اليات و عوارض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0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15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دارايي مالياتي در ترازنامه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5232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ax </a:t>
            </a:r>
            <a:r>
              <a:rPr lang="nl-NL" dirty="0" err="1" smtClean="0"/>
              <a:t>assets</a:t>
            </a:r>
            <a:r>
              <a:rPr lang="nl-NL" dirty="0" smtClean="0"/>
              <a:t> in </a:t>
            </a:r>
            <a:r>
              <a:rPr lang="nl-NL" dirty="0" err="1" smtClean="0"/>
              <a:t>selected</a:t>
            </a:r>
            <a:r>
              <a:rPr lang="nl-NL" dirty="0" smtClean="0"/>
              <a:t> </a:t>
            </a:r>
            <a:r>
              <a:rPr lang="nl-NL" dirty="0" err="1" smtClean="0"/>
              <a:t>countries</a:t>
            </a:r>
            <a:endParaRPr lang="nl-NL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/>
          </p:nvPr>
        </p:nvGraphicFramePr>
        <p:xfrm>
          <a:off x="368299" y="1597514"/>
          <a:ext cx="8391525" cy="2385677"/>
        </p:xfrm>
        <a:graphic>
          <a:graphicData uri="http://schemas.openxmlformats.org/drawingml/2006/table">
            <a:tbl>
              <a:tblPr/>
              <a:tblGrid>
                <a:gridCol w="3502661"/>
                <a:gridCol w="1696720"/>
                <a:gridCol w="2011680"/>
                <a:gridCol w="1180464"/>
              </a:tblGrid>
              <a:tr h="793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In </a:t>
                      </a:r>
                      <a:r>
                        <a:rPr kumimoji="0" lang="nl-NL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billion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Tax asset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Tax revenu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Australia 2014/15 (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8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5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3,6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Canada </a:t>
                      </a: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014/15 </a:t>
                      </a: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($)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9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27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3,3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UK 2013/14 (</a:t>
                      </a: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£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1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56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0,7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7241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دارايي هاي مالياتي در برخي از كشورها </a:t>
            </a:r>
            <a:endParaRPr lang="en-US" b="1" dirty="0">
              <a:cs typeface="B Titr" pitchFamily="2" charset="-78"/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506984"/>
              </p:ext>
            </p:extLst>
          </p:nvPr>
        </p:nvGraphicFramePr>
        <p:xfrm>
          <a:off x="368299" y="1597514"/>
          <a:ext cx="8391525" cy="2133080"/>
        </p:xfrm>
        <a:graphic>
          <a:graphicData uri="http://schemas.openxmlformats.org/drawingml/2006/table">
            <a:tbl>
              <a:tblPr/>
              <a:tblGrid>
                <a:gridCol w="1831204"/>
                <a:gridCol w="1643448"/>
                <a:gridCol w="1791730"/>
                <a:gridCol w="3125143"/>
              </a:tblGrid>
              <a:tr h="4289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درصد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درآمد مالياتي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دارايي مالياتي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به ميليارد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457200" marR="0" indent="0" algn="ctr" defTabSz="914400" rtl="1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% 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6/13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55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48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راليا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014/15 ($)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457200" marR="0" indent="0" algn="ctr" defTabSz="914400" rtl="1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% 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/43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2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98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انادا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014/15 </a:t>
                      </a: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($)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72">
                <a:tc>
                  <a:txBody>
                    <a:bodyPr/>
                    <a:lstStyle/>
                    <a:p>
                      <a:pPr marL="457200" marR="0" indent="0" algn="ctr" defTabSz="914400" rtl="1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% 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7/20 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15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15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نگليس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UK 2013/14 (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£)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164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ax </a:t>
            </a:r>
            <a:r>
              <a:rPr lang="nl-NL" dirty="0" err="1" smtClean="0"/>
              <a:t>asset</a:t>
            </a:r>
            <a:r>
              <a:rPr lang="nl-NL" dirty="0" smtClean="0"/>
              <a:t> - </a:t>
            </a:r>
            <a:r>
              <a:rPr lang="nl-NL" dirty="0" err="1" smtClean="0"/>
              <a:t>Aging</a:t>
            </a:r>
            <a:r>
              <a:rPr lang="nl-NL" dirty="0" smtClean="0"/>
              <a:t> </a:t>
            </a:r>
            <a:r>
              <a:rPr lang="nl-NL" dirty="0"/>
              <a:t>analysis 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(Canada 2014/2015)</a:t>
            </a:r>
            <a:endParaRPr lang="nl-NL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68300" y="6052129"/>
            <a:ext cx="8394700" cy="81200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*) includes estimates </a:t>
            </a:r>
            <a:r>
              <a:rPr lang="en-US" dirty="0"/>
              <a:t>of unassessed taxes at year </a:t>
            </a:r>
            <a:r>
              <a:rPr lang="en-US" dirty="0" smtClean="0"/>
              <a:t>end</a:t>
            </a:r>
            <a:endParaRPr lang="nl-NL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/>
          </p:nvPr>
        </p:nvGraphicFramePr>
        <p:xfrm>
          <a:off x="478137" y="1277650"/>
          <a:ext cx="8171849" cy="4474729"/>
        </p:xfrm>
        <a:graphic>
          <a:graphicData uri="http://schemas.openxmlformats.org/drawingml/2006/table">
            <a:tbl>
              <a:tblPr/>
              <a:tblGrid>
                <a:gridCol w="4835543"/>
                <a:gridCol w="3336306"/>
              </a:tblGrid>
              <a:tr h="593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Tax asset (million 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Less</a:t>
                      </a:r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han</a:t>
                      </a:r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one</a:t>
                      </a:r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</a:t>
                      </a:r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*)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2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1-2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2-3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3-4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4-5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Over 5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11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oubtful</a:t>
                      </a:r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ebto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─13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Balance sheet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valuation</a:t>
                      </a:r>
                      <a:endParaRPr kumimoji="0" lang="nl-NL" sz="2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9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20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247562"/>
            <a:ext cx="8391525" cy="619125"/>
          </a:xfrm>
        </p:spPr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دارايي مالياتي – تجزيه و تحليل زماني </a:t>
            </a:r>
            <a:r>
              <a:rPr lang="fa-IR" b="1" dirty="0" smtClean="0">
                <a:cs typeface="B Titr" pitchFamily="2" charset="-78"/>
              </a:rPr>
              <a:t> (</a:t>
            </a:r>
            <a:r>
              <a:rPr lang="fa-IR" b="1" dirty="0">
                <a:cs typeface="B Titr" pitchFamily="2" charset="-78"/>
              </a:rPr>
              <a:t>كانادا  2015 – 2014 )</a:t>
            </a:r>
            <a:endParaRPr lang="en-US" b="1" dirty="0">
              <a:cs typeface="B Titr" pitchFamily="2" charset="-78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68300" y="6052129"/>
            <a:ext cx="8394700" cy="81200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*) includes estimates </a:t>
            </a:r>
            <a:r>
              <a:rPr lang="en-US" dirty="0"/>
              <a:t>of unassessed taxes at year </a:t>
            </a:r>
            <a:r>
              <a:rPr lang="en-US" dirty="0" smtClean="0"/>
              <a:t>end</a:t>
            </a:r>
            <a:endParaRPr lang="nl-NL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81537"/>
              </p:ext>
            </p:extLst>
          </p:nvPr>
        </p:nvGraphicFramePr>
        <p:xfrm>
          <a:off x="478137" y="1277650"/>
          <a:ext cx="8171849" cy="4461208"/>
        </p:xfrm>
        <a:graphic>
          <a:graphicData uri="http://schemas.openxmlformats.org/drawingml/2006/table">
            <a:tbl>
              <a:tblPr/>
              <a:tblGrid>
                <a:gridCol w="3908512"/>
                <a:gridCol w="4263337"/>
              </a:tblGrid>
              <a:tr h="593134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دارايي ماليات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(ميليون دلار)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72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متر از يك سال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-1 سا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5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-2 سا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4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4-3 سا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4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5-4 سا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9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بيشتر از 5 سا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11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ل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3 -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بدهكاران مشكوك </a:t>
                      </a:r>
                      <a:endParaRPr lang="en-US" sz="16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98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8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رزش ترازنامه 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17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5615691" cy="959447"/>
          </a:xfrm>
        </p:spPr>
        <p:txBody>
          <a:bodyPr anchor="ctr"/>
          <a:lstStyle/>
          <a:p>
            <a:pPr marL="18892" indent="-18892"/>
            <a:r>
              <a:rPr lang="en-US" smtClean="0">
                <a:solidFill>
                  <a:schemeClr val="tx1"/>
                </a:solidFill>
              </a:rPr>
              <a:t>Public Debt Disclosures:</a:t>
            </a:r>
            <a:br>
              <a:rPr lang="en-US" smtClean="0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/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Best Practices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06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5615691" cy="959447"/>
          </a:xfrm>
        </p:spPr>
        <p:txBody>
          <a:bodyPr anchor="ctr"/>
          <a:lstStyle/>
          <a:p>
            <a:pPr algn="r" rtl="1">
              <a:lnSpc>
                <a:spcPct val="100000"/>
              </a:lnSpc>
            </a:pPr>
            <a:r>
              <a:rPr lang="fa-IR" b="1" dirty="0" smtClean="0">
                <a:cs typeface="B Titr" pitchFamily="2" charset="-78"/>
              </a:rPr>
              <a:t>اعلام(افشا) </a:t>
            </a:r>
            <a:r>
              <a:rPr lang="fa-IR" b="1" dirty="0">
                <a:cs typeface="B Titr" pitchFamily="2" charset="-78"/>
              </a:rPr>
              <a:t>بدهي هاي عمومي </a:t>
            </a:r>
            <a:r>
              <a:rPr lang="en-US" b="1" dirty="0">
                <a:cs typeface="B Titr" pitchFamily="2" charset="-78"/>
              </a:rPr>
              <a:t/>
            </a:r>
            <a:br>
              <a:rPr lang="en-US" b="1" dirty="0">
                <a:cs typeface="B Titr" pitchFamily="2" charset="-78"/>
              </a:rPr>
            </a:br>
            <a:r>
              <a:rPr lang="fa-IR" b="1" dirty="0">
                <a:cs typeface="B Titr" pitchFamily="2" charset="-78"/>
              </a:rPr>
              <a:t>تجربيات موفق </a:t>
            </a:r>
            <a:endParaRPr lang="en-US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1705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591227"/>
              </p:ext>
            </p:extLst>
          </p:nvPr>
        </p:nvGraphicFramePr>
        <p:xfrm>
          <a:off x="478137" y="1409730"/>
          <a:ext cx="8171849" cy="3596479"/>
        </p:xfrm>
        <a:graphic>
          <a:graphicData uri="http://schemas.openxmlformats.org/drawingml/2006/table">
            <a:tbl>
              <a:tblPr/>
              <a:tblGrid>
                <a:gridCol w="4835543"/>
                <a:gridCol w="3336306"/>
              </a:tblGrid>
              <a:tr h="593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Borrowings (mln </a:t>
                      </a: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Less</a:t>
                      </a:r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han</a:t>
                      </a:r>
                      <a:r>
                        <a:rPr kumimoji="0" lang="nl-NL" sz="22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month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,015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1-2 month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3 months – 1 year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4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1-5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35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Over 5 </a:t>
                      </a:r>
                      <a:r>
                        <a:rPr kumimoji="0" lang="nl-NL" sz="2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year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86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Nominal value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,990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arrying amount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,416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9277" y="358775"/>
            <a:ext cx="7581470" cy="619125"/>
          </a:xfrm>
        </p:spPr>
        <p:txBody>
          <a:bodyPr/>
          <a:lstStyle/>
          <a:p>
            <a:r>
              <a:rPr lang="en-US" altLang="en-US" smtClean="0"/>
              <a:t>By maturity and carrying amount (discounted cash flow) and nominal value</a:t>
            </a:r>
            <a:r>
              <a:rPr lang="en-US" altLang="en-US"/>
              <a:t/>
            </a:r>
            <a:br>
              <a:rPr lang="en-US" altLang="en-US"/>
            </a:br>
            <a:r>
              <a:rPr lang="en-US" altLang="en-US" sz="1600">
                <a:solidFill>
                  <a:srgbClr val="92D050"/>
                </a:solidFill>
              </a:rPr>
              <a:t>Department of Infrastructure, </a:t>
            </a:r>
            <a:r>
              <a:rPr lang="en-US" altLang="en-US" sz="1600" smtClean="0">
                <a:solidFill>
                  <a:srgbClr val="92D050"/>
                </a:solidFill>
              </a:rPr>
              <a:t>Victoria</a:t>
            </a:r>
          </a:p>
        </p:txBody>
      </p:sp>
    </p:spTree>
    <p:extLst>
      <p:ext uri="{BB962C8B-B14F-4D97-AF65-F5344CB8AC3E}">
        <p14:creationId xmlns:p14="http://schemas.microsoft.com/office/powerpoint/2010/main" val="331345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838443"/>
              </p:ext>
            </p:extLst>
          </p:nvPr>
        </p:nvGraphicFramePr>
        <p:xfrm>
          <a:off x="478137" y="1409730"/>
          <a:ext cx="8171849" cy="4279392"/>
        </p:xfrm>
        <a:graphic>
          <a:graphicData uri="http://schemas.openxmlformats.org/drawingml/2006/table">
            <a:tbl>
              <a:tblPr/>
              <a:tblGrid>
                <a:gridCol w="4835543"/>
                <a:gridCol w="3336306"/>
              </a:tblGrid>
              <a:tr h="593134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ستقراض 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(ميليون دلار)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3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cs typeface="B Lotus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015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كمتر از يك ماه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0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2-1 ماه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44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3 ماه تا يكسال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35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5-1 سال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786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بيش از 5 سال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990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رزش اسمي 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125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1416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يزان انتقال يافته 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6498" y="358775"/>
            <a:ext cx="8921578" cy="619125"/>
          </a:xfrm>
        </p:spPr>
        <p:txBody>
          <a:bodyPr/>
          <a:lstStyle/>
          <a:p>
            <a:pPr algn="r" rtl="1">
              <a:lnSpc>
                <a:spcPct val="100000"/>
              </a:lnSpc>
            </a:pPr>
            <a:r>
              <a:rPr lang="fa-IR" sz="2600" b="1" dirty="0">
                <a:cs typeface="B Titr" pitchFamily="2" charset="-78"/>
              </a:rPr>
              <a:t>تا زمان سررسيد و ميزان انتقال يافته ( جريان نقدي تنزل شده ) و ارزش اسمي </a:t>
            </a:r>
            <a:endParaRPr lang="en-US" sz="2600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8072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799687"/>
              </p:ext>
            </p:extLst>
          </p:nvPr>
        </p:nvGraphicFramePr>
        <p:xfrm>
          <a:off x="478137" y="1409730"/>
          <a:ext cx="8171849" cy="1714500"/>
        </p:xfrm>
        <a:graphic>
          <a:graphicData uri="http://schemas.openxmlformats.org/drawingml/2006/table">
            <a:tbl>
              <a:tblPr/>
              <a:tblGrid>
                <a:gridCol w="4751343"/>
                <a:gridCol w="1710253"/>
                <a:gridCol w="1710253"/>
              </a:tblGrid>
              <a:tr h="593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Change in interest rate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Effect on surplus (mln 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Effect on net worth (mln </a:t>
                      </a: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+100 basis point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-230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-230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- 100 basis point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+269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69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9277" y="358775"/>
            <a:ext cx="7581470" cy="619125"/>
          </a:xfrm>
        </p:spPr>
        <p:txBody>
          <a:bodyPr/>
          <a:lstStyle/>
          <a:p>
            <a:r>
              <a:rPr lang="en-US" altLang="en-US" smtClean="0"/>
              <a:t>Sensitivity analysis (interest rate risk)</a:t>
            </a:r>
            <a:br>
              <a:rPr lang="en-US" altLang="en-US" smtClean="0"/>
            </a:br>
            <a:r>
              <a:rPr lang="en-US" altLang="en-US" sz="1600" smtClean="0">
                <a:solidFill>
                  <a:srgbClr val="92D050"/>
                </a:solidFill>
              </a:rPr>
              <a:t>Australia</a:t>
            </a:r>
          </a:p>
        </p:txBody>
      </p:sp>
    </p:spTree>
    <p:extLst>
      <p:ext uri="{BB962C8B-B14F-4D97-AF65-F5344CB8AC3E}">
        <p14:creationId xmlns:p14="http://schemas.microsoft.com/office/powerpoint/2010/main" val="110246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دوطبقه از دارائيها:  منقول و غير منقول – ايران - </a:t>
            </a:r>
            <a:r>
              <a:rPr lang="en-US" b="1" dirty="0">
                <a:cs typeface="B Titr" pitchFamily="2" charset="-78"/>
              </a:rPr>
              <a:t>IPAS</a:t>
            </a: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924425"/>
              </p:ext>
            </p:extLst>
          </p:nvPr>
        </p:nvGraphicFramePr>
        <p:xfrm>
          <a:off x="368300" y="820542"/>
          <a:ext cx="8125459" cy="5438018"/>
        </p:xfrm>
        <a:graphic>
          <a:graphicData uri="http://schemas.openxmlformats.org/drawingml/2006/table">
            <a:tbl>
              <a:tblPr/>
              <a:tblGrid>
                <a:gridCol w="582421"/>
                <a:gridCol w="1026774"/>
                <a:gridCol w="1772269"/>
                <a:gridCol w="1453977"/>
                <a:gridCol w="1597116"/>
                <a:gridCol w="1692902"/>
              </a:tblGrid>
              <a:tr h="547856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Iran</a:t>
                      </a:r>
                    </a:p>
                  </a:txBody>
                  <a:tcPr marL="68580" marR="68580" marT="34290" marB="34290" vert="vert27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IPSA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378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IPSAS 17 Property, Plant and Equipment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SAS 16 Investment Proper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SAS 12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ventories</a:t>
                      </a: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495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vert="vert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fa-IR" sz="18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B Titr" pitchFamily="2" charset="-78"/>
                        </a:rPr>
                        <a:t>دارائيهاي غيرمنقول </a:t>
                      </a:r>
                      <a:endParaRPr lang="en-US" sz="18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B Titr" pitchFamily="2" charset="-78"/>
                      </a:endParaRPr>
                    </a:p>
                    <a:p>
                      <a:pPr algn="ctr"/>
                      <a:r>
                        <a:rPr lang="fa-IR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B Titr" pitchFamily="2" charset="-78"/>
                        </a:rPr>
                        <a:t>زمين و ابنيه </a:t>
                      </a:r>
                      <a:endParaRPr kumimoji="0" lang="nl-NL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government office buildings, social housing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perty hel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rease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ntal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ome</a:t>
                      </a: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and and buildings held </a:t>
                      </a:r>
                      <a:r>
                        <a:rPr lang="nl-NL" sz="1200" kern="1200" baseline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sal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821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B Titr" pitchFamily="2" charset="-78"/>
                        </a:rPr>
                        <a:t>دارائيهاي منقول 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خودرو كامپيوتر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ثاثيه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vehicles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computers, furnitur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8212"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كالاهاي مصرفي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nl-NL" sz="1200" kern="1200" baseline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mmunition, </a:t>
                      </a:r>
                      <a:b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pare part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8499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B Titr" pitchFamily="2" charset="-78"/>
                        </a:rPr>
                        <a:t>اوراق بهادار </a:t>
                      </a:r>
                      <a:endParaRPr kumimoji="0" lang="nl-NL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200" b="0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200" b="0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unissued currency, passports, stamps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219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1184862"/>
              </p:ext>
            </p:extLst>
          </p:nvPr>
        </p:nvGraphicFramePr>
        <p:xfrm>
          <a:off x="478137" y="1409730"/>
          <a:ext cx="8171849" cy="1562593"/>
        </p:xfrm>
        <a:graphic>
          <a:graphicData uri="http://schemas.openxmlformats.org/drawingml/2006/table">
            <a:tbl>
              <a:tblPr/>
              <a:tblGrid>
                <a:gridCol w="2351560"/>
                <a:gridCol w="2471352"/>
                <a:gridCol w="3348937"/>
              </a:tblGrid>
              <a:tr h="59313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تاثير بر ارزش خالص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(ميليون ريال)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تاثير بر مازاد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(ميليون دلار)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تغيير در نرخ بهره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30 -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30 -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واحد 100 +</a:t>
                      </a:r>
                      <a:endParaRPr lang="en-US" sz="18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69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69 +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0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واحد 100 -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9277" y="358775"/>
            <a:ext cx="7581470" cy="619125"/>
          </a:xfrm>
        </p:spPr>
        <p:txBody>
          <a:bodyPr/>
          <a:lstStyle/>
          <a:p>
            <a:pPr algn="r"/>
            <a:r>
              <a:rPr lang="fa-IR" b="1" dirty="0">
                <a:cs typeface="B Titr" pitchFamily="2" charset="-78"/>
              </a:rPr>
              <a:t>تجزيه و تحليل حساسيت (ريسك نرخ بهره )  (استراليا) </a:t>
            </a:r>
            <a:endParaRPr lang="en-US" altLang="en-US" sz="1600" dirty="0" smtClean="0">
              <a:solidFill>
                <a:srgbClr val="92D050"/>
              </a:solidFill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3236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248086"/>
              </p:ext>
            </p:extLst>
          </p:nvPr>
        </p:nvGraphicFramePr>
        <p:xfrm>
          <a:off x="478137" y="1809780"/>
          <a:ext cx="4555000" cy="3050540"/>
        </p:xfrm>
        <a:graphic>
          <a:graphicData uri="http://schemas.openxmlformats.org/drawingml/2006/table">
            <a:tbl>
              <a:tblPr/>
              <a:tblGrid>
                <a:gridCol w="3349384"/>
                <a:gridCol w="1205616"/>
              </a:tblGrid>
              <a:tr h="593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Debt (mln </a:t>
                      </a: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$)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7041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Opening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7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Receipt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3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Payment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-3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Revaluation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ancellations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932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22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losing</a:t>
                      </a:r>
                      <a:endParaRPr kumimoji="0" lang="nl-NL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7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358775"/>
            <a:ext cx="8839199" cy="803275"/>
          </a:xfrm>
        </p:spPr>
        <p:txBody>
          <a:bodyPr/>
          <a:lstStyle/>
          <a:p>
            <a:r>
              <a:rPr lang="en-US" altLang="en-US">
                <a:solidFill>
                  <a:srgbClr val="0C2678"/>
                </a:solidFill>
              </a:rPr>
              <a:t>Movement during the </a:t>
            </a:r>
            <a:r>
              <a:rPr lang="en-US" altLang="en-US" smtClean="0">
                <a:solidFill>
                  <a:srgbClr val="0C2678"/>
                </a:solidFill>
              </a:rPr>
              <a:t>year</a:t>
            </a:r>
            <a:r>
              <a:rPr lang="en-US" altLang="en-US">
                <a:solidFill>
                  <a:srgbClr val="0C2678"/>
                </a:solidFill>
              </a:rPr>
              <a:t/>
            </a:r>
            <a:br>
              <a:rPr lang="en-US" altLang="en-US">
                <a:solidFill>
                  <a:srgbClr val="0C2678"/>
                </a:solidFill>
              </a:rPr>
            </a:br>
            <a:r>
              <a:rPr lang="en-US" altLang="en-US" sz="1600">
                <a:solidFill>
                  <a:srgbClr val="92D050"/>
                </a:solidFill>
              </a:rPr>
              <a:t>Canada</a:t>
            </a:r>
            <a:endParaRPr lang="en-US" altLang="en-US" sz="1600" smtClean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3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288378"/>
              </p:ext>
            </p:extLst>
          </p:nvPr>
        </p:nvGraphicFramePr>
        <p:xfrm>
          <a:off x="1841157" y="1389650"/>
          <a:ext cx="5576834" cy="3861973"/>
        </p:xfrm>
        <a:graphic>
          <a:graphicData uri="http://schemas.openxmlformats.org/drawingml/2006/table">
            <a:tbl>
              <a:tblPr/>
              <a:tblGrid>
                <a:gridCol w="2606774"/>
                <a:gridCol w="2970060"/>
              </a:tblGrid>
              <a:tr h="7713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lang="fa-IR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B Titr" pitchFamily="2" charset="-78"/>
                        </a:rPr>
                        <a:t>بدهي ( ميليون دلار ) </a:t>
                      </a: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6312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5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فتتاح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87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3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دريافت ها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87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-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پرداخت ها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87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رزش گذاري مجدد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87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بطال</a:t>
                      </a:r>
                      <a:endParaRPr lang="en-US" sz="20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870"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77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24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بسته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19881" y="259921"/>
            <a:ext cx="7179275" cy="803275"/>
          </a:xfrm>
        </p:spPr>
        <p:txBody>
          <a:bodyPr/>
          <a:lstStyle/>
          <a:p>
            <a:pPr algn="r" rtl="1"/>
            <a:r>
              <a:rPr lang="fa-IR" b="1" dirty="0">
                <a:cs typeface="B Titr" pitchFamily="2" charset="-78"/>
              </a:rPr>
              <a:t>تغيير در طول سال ( كانادا )</a:t>
            </a:r>
            <a:endParaRPr lang="en-US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4490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891480"/>
              </p:ext>
            </p:extLst>
          </p:nvPr>
        </p:nvGraphicFramePr>
        <p:xfrm>
          <a:off x="447656" y="976660"/>
          <a:ext cx="7497464" cy="5622334"/>
        </p:xfrm>
        <a:graphic>
          <a:graphicData uri="http://schemas.openxmlformats.org/drawingml/2006/table">
            <a:tbl>
              <a:tblPr/>
              <a:tblGrid>
                <a:gridCol w="5215103"/>
                <a:gridCol w="2282361"/>
              </a:tblGrid>
              <a:tr h="5931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14, in mln $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By type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Government bond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60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reasury bill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Government retail stock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0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Settlementt deposit with Reserve Bank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erivatives in los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inancial lease liabil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Other borrowing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8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By source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ore Crown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9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rown ent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State-owned ent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6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Inter-segment elimination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-17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 bwMode="auto">
          <a:xfrm>
            <a:off x="12122" y="-121920"/>
            <a:ext cx="8979478" cy="10668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2pPr>
            <a:lvl3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3pPr>
            <a:lvl4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4pPr>
            <a:lvl5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5pPr>
            <a:lvl6pPr marL="30216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6pPr>
            <a:lvl7pPr marL="60433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7pPr>
            <a:lvl8pPr marL="906502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8pPr>
            <a:lvl9pPr marL="1208668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73581" rtl="0" eaLnBrk="0" fontAlgn="base" latinLnBrk="0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reakdown by type, source, maturity, guarantee</a:t>
            </a:r>
            <a:br>
              <a:rPr kumimoji="0" lang="en-US" sz="2800" b="0" i="0" u="none" strike="noStrike" kern="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sz="2800" b="0" i="0" u="none" strike="noStrike" kern="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New Zealand</a:t>
            </a: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98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8011923"/>
              </p:ext>
            </p:extLst>
          </p:nvPr>
        </p:nvGraphicFramePr>
        <p:xfrm>
          <a:off x="447656" y="976660"/>
          <a:ext cx="7497463" cy="5592108"/>
        </p:xfrm>
        <a:graphic>
          <a:graphicData uri="http://schemas.openxmlformats.org/drawingml/2006/table">
            <a:tbl>
              <a:tblPr/>
              <a:tblGrid>
                <a:gridCol w="3998031"/>
                <a:gridCol w="3499432"/>
              </a:tblGrid>
              <a:tr h="5931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14, in mln $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a-IR" sz="18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cs typeface="B Titr" pitchFamily="2" charset="-78"/>
                        </a:rPr>
                        <a:t>انواع</a:t>
                      </a:r>
                      <a:r>
                        <a:rPr lang="fa-IR" sz="1800" b="1" baseline="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cs typeface="B Titr" pitchFamily="2" charset="-78"/>
                        </a:rPr>
                        <a:t> </a:t>
                      </a:r>
                      <a:endParaRPr lang="nl-NL" dirty="0"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6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وراق قرضه دولتي 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اوراق خزانه 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سهام خرده فروشي دولت 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سپرده سررسید</a:t>
                      </a:r>
                      <a:r>
                        <a:rPr lang="fa-IR" sz="1600" b="1" baseline="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 شده در بانک مرکزی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مشتقات</a:t>
                      </a:r>
                      <a:r>
                        <a:rPr lang="fa-IR" sz="1600" b="1" baseline="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 در حال امحا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بدهی های اجاره مالی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Lotus" pitchFamily="2" charset="-78"/>
                        </a:rPr>
                        <a:t>دیگر حالت های قرضه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Lotus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کل قرض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بر اساس نوع منبع 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ore Crown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rown ent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6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State-owned ent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Inter-segment elimination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کل قرض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 bwMode="auto">
          <a:xfrm>
            <a:off x="86264" y="160635"/>
            <a:ext cx="8979478" cy="4061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2pPr>
            <a:lvl3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3pPr>
            <a:lvl4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4pPr>
            <a:lvl5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5pPr>
            <a:lvl6pPr marL="30216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6pPr>
            <a:lvl7pPr marL="60433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7pPr>
            <a:lvl8pPr marL="906502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8pPr>
            <a:lvl9pPr marL="1208668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>
              <a:defRPr/>
            </a:pPr>
            <a:r>
              <a:rPr lang="fa-IR" sz="2800" dirty="0">
                <a:solidFill>
                  <a:schemeClr val="bg1"/>
                </a:solidFill>
                <a:cs typeface="B Titr" pitchFamily="2" charset="-78"/>
              </a:rPr>
              <a:t>تفكيك به صورت نوع ، مبلغ ، رسيد و ضمانت (نيوزيلند ) 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4533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905936"/>
              </p:ext>
            </p:extLst>
          </p:nvPr>
        </p:nvGraphicFramePr>
        <p:xfrm>
          <a:off x="447656" y="976660"/>
          <a:ext cx="7497464" cy="3438195"/>
        </p:xfrm>
        <a:graphic>
          <a:graphicData uri="http://schemas.openxmlformats.org/drawingml/2006/table">
            <a:tbl>
              <a:tblPr/>
              <a:tblGrid>
                <a:gridCol w="5215103"/>
                <a:gridCol w="2282361"/>
              </a:tblGrid>
              <a:tr h="5931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14, in mln $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By maturity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Within one year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9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More than one yea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64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By guarantee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Sovereign-guaranteed debt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7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52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Non-sovereign deb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6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3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 bwMode="auto">
          <a:xfrm>
            <a:off x="12122" y="-121920"/>
            <a:ext cx="8979478" cy="10668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2pPr>
            <a:lvl3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3pPr>
            <a:lvl4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4pPr>
            <a:lvl5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5pPr>
            <a:lvl6pPr marL="30216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6pPr>
            <a:lvl7pPr marL="60433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7pPr>
            <a:lvl8pPr marL="906502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8pPr>
            <a:lvl9pPr marL="1208668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b="0" kern="0" smtClean="0">
                <a:solidFill>
                  <a:srgbClr val="0027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Breakdown by type, source, maturity, guarantee</a:t>
            </a:r>
            <a:br>
              <a:rPr lang="en-US" sz="2800" b="0" kern="0" smtClean="0">
                <a:solidFill>
                  <a:srgbClr val="002776"/>
                </a:solidFill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800" b="0" kern="0" smtClean="0">
                <a:solidFill>
                  <a:srgbClr val="0027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b="0" kern="0" smtClean="0">
                <a:solidFill>
                  <a:srgbClr val="92D050"/>
                </a:solidFill>
                <a:latin typeface="Arial"/>
              </a:rPr>
              <a:t>New Zealand</a:t>
            </a:r>
            <a:endParaRPr lang="en-US" sz="2800" b="0" kern="0">
              <a:solidFill>
                <a:srgbClr val="0027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44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758645"/>
              </p:ext>
            </p:extLst>
          </p:nvPr>
        </p:nvGraphicFramePr>
        <p:xfrm>
          <a:off x="447656" y="976660"/>
          <a:ext cx="7497464" cy="3708444"/>
        </p:xfrm>
        <a:graphic>
          <a:graphicData uri="http://schemas.openxmlformats.org/drawingml/2006/table">
            <a:tbl>
              <a:tblPr/>
              <a:tblGrid>
                <a:gridCol w="3284085"/>
                <a:gridCol w="4213379"/>
              </a:tblGrid>
              <a:tr h="5931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nl-NL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14, in mln $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endParaRPr kumimoji="0" lang="nl-NL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kumimoji="0" lang="nl-NL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a-IR" dirty="0" smtClean="0">
                          <a:solidFill>
                            <a:schemeClr val="bg1"/>
                          </a:solidFill>
                          <a:cs typeface="B Titr" pitchFamily="2" charset="-78"/>
                        </a:rPr>
                        <a:t>مطابق سررسید</a:t>
                      </a:r>
                      <a:endParaRPr lang="nl-NL" dirty="0">
                        <a:solidFill>
                          <a:schemeClr val="bg1"/>
                        </a:solidFill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fa-IR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39</a:t>
                      </a:r>
                      <a:endParaRPr kumimoji="0" lang="nl-NL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Lotus" pitchFamily="2" charset="-78"/>
                        </a:rPr>
                        <a:t>تا یکسال </a:t>
                      </a:r>
                      <a:endParaRPr kumimoji="0" lang="nl-NL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Lotus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64</a:t>
                      </a:r>
                      <a:endParaRPr kumimoji="0" lang="nl-NL" sz="18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Lotus" pitchFamily="2" charset="-78"/>
                        </a:rPr>
                        <a:t>بیشتر از یکسال </a:t>
                      </a:r>
                      <a:endParaRPr kumimoji="0" lang="nl-NL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Lotus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fa-IR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B Titr" pitchFamily="2" charset="-78"/>
                        </a:rPr>
                        <a:t>103</a:t>
                      </a:r>
                      <a:endParaRPr kumimoji="0" lang="nl-NL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B Titr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کل مبلغ قرض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320">
                <a:tc gridSpan="2">
                  <a:txBody>
                    <a:bodyPr/>
                    <a:lstStyle/>
                    <a:p>
                      <a:pPr algn="ctr" fontAlgn="b"/>
                      <a:endParaRPr kumimoji="0" lang="nl-NL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kumimoji="0" lang="nl-NL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مطابق تضمین</a:t>
                      </a:r>
                      <a:r>
                        <a:rPr kumimoji="0" lang="fa-IR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fa-IR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77</a:t>
                      </a:r>
                      <a:endParaRPr kumimoji="0" lang="nl-NL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بدهی دارای تضمین مستقل</a:t>
                      </a: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522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26</a:t>
                      </a:r>
                      <a:endParaRPr kumimoji="0" lang="nl-NL" sz="18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بدهی بدون تضمین</a:t>
                      </a: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fa-IR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B Titr" pitchFamily="2" charset="-78"/>
                        </a:rPr>
                        <a:t>103</a:t>
                      </a:r>
                      <a:endParaRPr kumimoji="0" lang="nl-NL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B Titr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B Titr" pitchFamily="2" charset="-78"/>
                        </a:rPr>
                        <a:t>کل مبلغ قرض 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B Titr" pitchFamily="2" charset="-78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86264" y="160635"/>
            <a:ext cx="8979478" cy="4061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2pPr>
            <a:lvl3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3pPr>
            <a:lvl4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4pPr>
            <a:lvl5pPr algn="l" defTabSz="673581" rtl="0" eaLnBrk="0" fontAlgn="base" hangingPunct="0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5pPr>
            <a:lvl6pPr marL="30216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6pPr>
            <a:lvl7pPr marL="604337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7pPr>
            <a:lvl8pPr marL="906502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8pPr>
            <a:lvl9pPr marL="1208668" algn="l" defTabSz="673581" rtl="0" eaLnBrk="1" fontAlgn="base" hangingPunct="1">
              <a:lnSpc>
                <a:spcPts val="2249"/>
              </a:lnSpc>
              <a:spcBef>
                <a:spcPct val="0"/>
              </a:spcBef>
              <a:spcAft>
                <a:spcPct val="0"/>
              </a:spcAft>
              <a:defRPr sz="1655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>
              <a:defRPr/>
            </a:pPr>
            <a:r>
              <a:rPr lang="fa-IR" sz="2800" dirty="0">
                <a:solidFill>
                  <a:schemeClr val="bg1"/>
                </a:solidFill>
                <a:cs typeface="B Titr" pitchFamily="2" charset="-78"/>
              </a:rPr>
              <a:t>تفكيك به صورت نوع ، مبلغ ، رسيد و ضمانت (نيوزيلند ) 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9417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766940"/>
              </p:ext>
            </p:extLst>
          </p:nvPr>
        </p:nvGraphicFramePr>
        <p:xfrm>
          <a:off x="447656" y="1423700"/>
          <a:ext cx="7619383" cy="4968240"/>
        </p:xfrm>
        <a:graphic>
          <a:graphicData uri="http://schemas.openxmlformats.org/drawingml/2006/table">
            <a:tbl>
              <a:tblPr/>
              <a:tblGrid>
                <a:gridCol w="4063045"/>
                <a:gridCol w="1778169"/>
                <a:gridCol w="1778169"/>
              </a:tblGrid>
              <a:tr h="5931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2014, in mln $</a:t>
                      </a:r>
                    </a:p>
                  </a:txBody>
                  <a:tcPr marL="68580" marR="68580" marT="34290" marB="34290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 State of Victoria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ts val="2200"/>
                        </a:lnSpc>
                        <a:spcBef>
                          <a:spcPct val="0"/>
                        </a:spcBef>
                        <a:spcAft>
                          <a:spcPct val="37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</a:rPr>
                        <a:t>General Government Sector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urrent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omestic borrowing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,937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,439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oreign borrowing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68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inance lease liabil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87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16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erivative financial instrument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35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current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,527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,555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Current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omestic borrowing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8,681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3,444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oreign borrowing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100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inance lease liabilitie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8,630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7,934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erivative financial instruments</a:t>
                      </a:r>
                      <a:endParaRPr kumimoji="0" lang="nl-NL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38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21</a:t>
                      </a:r>
                      <a:endParaRPr kumimoji="0" lang="nl-NL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current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47,750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1,399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kumimoji="0" lang="nl-NL" sz="16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Total borrowings</a:t>
                      </a:r>
                      <a:endParaRPr kumimoji="0" lang="nl-NL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51,277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Arial" charset="0"/>
                        </a:rPr>
                        <a:t>32,954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68300" y="358775"/>
            <a:ext cx="8562975" cy="619125"/>
          </a:xfrm>
        </p:spPr>
        <p:txBody>
          <a:bodyPr/>
          <a:lstStyle/>
          <a:p>
            <a:r>
              <a:rPr lang="en-US" altLang="en-US"/>
              <a:t>F</a:t>
            </a:r>
            <a:r>
              <a:rPr lang="en-US" altLang="en-US" smtClean="0"/>
              <a:t>oreign and Domestic, Current and Non-current, General </a:t>
            </a:r>
            <a:r>
              <a:rPr lang="en-US" altLang="en-US"/>
              <a:t>G</a:t>
            </a:r>
            <a:r>
              <a:rPr lang="en-US" altLang="en-US" smtClean="0"/>
              <a:t>overnment Sector</a:t>
            </a:r>
            <a:r>
              <a:rPr lang="en-US" altLang="en-US"/>
              <a:t/>
            </a:r>
            <a:br>
              <a:rPr lang="en-US" altLang="en-US"/>
            </a:br>
            <a:r>
              <a:rPr lang="en-US" altLang="en-US" sz="1600">
                <a:solidFill>
                  <a:srgbClr val="92D050"/>
                </a:solidFill>
              </a:rPr>
              <a:t>State of Victoria</a:t>
            </a:r>
          </a:p>
        </p:txBody>
      </p:sp>
    </p:spTree>
    <p:extLst>
      <p:ext uri="{BB962C8B-B14F-4D97-AF65-F5344CB8AC3E}">
        <p14:creationId xmlns:p14="http://schemas.microsoft.com/office/powerpoint/2010/main" val="395473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6550080"/>
              </p:ext>
            </p:extLst>
          </p:nvPr>
        </p:nvGraphicFramePr>
        <p:xfrm>
          <a:off x="731862" y="1090067"/>
          <a:ext cx="7619383" cy="4679359"/>
        </p:xfrm>
        <a:graphic>
          <a:graphicData uri="http://schemas.openxmlformats.org/drawingml/2006/table">
            <a:tbl>
              <a:tblPr/>
              <a:tblGrid>
                <a:gridCol w="2468538"/>
                <a:gridCol w="2520778"/>
                <a:gridCol w="2630067"/>
              </a:tblGrid>
              <a:tr h="59313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بخش عمومي دولت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يالت ويكتوريا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( به ميليون دلار)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جار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439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93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داخل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-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68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خارج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16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8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بدهي هاي تامين هاي ليزينگ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-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35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بزارهاي 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مشتق </a:t>
                      </a: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مالي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555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527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ل استقراض هاي جار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 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هاي جار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3444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6681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هاي داخل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-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100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ستقراض هاي خارج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7934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8630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بدهي هاي تامين هاي ليزينگ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21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38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ابزارهاي </a:t>
                      </a:r>
                      <a:r>
                        <a:rPr lang="fa-IR" sz="15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مشتق </a:t>
                      </a: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مالي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1399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47750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ل استقراض هاي جاري </a:t>
                      </a:r>
                      <a:endParaRPr lang="en-US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32954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51277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Nazanin"/>
                        </a:rPr>
                        <a:t>كل استقراض ها 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Nazani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68300" y="358775"/>
            <a:ext cx="8562975" cy="619125"/>
          </a:xfrm>
        </p:spPr>
        <p:txBody>
          <a:bodyPr/>
          <a:lstStyle/>
          <a:p>
            <a:pPr algn="r" rtl="1"/>
            <a:r>
              <a:rPr lang="fa-IR" sz="2400" b="1" dirty="0">
                <a:cs typeface="B Titr" pitchFamily="2" charset="-78"/>
              </a:rPr>
              <a:t>داخلي و خارجي ، جاري و غير جاري ، بخش عمومي دولت (ايالت ويكتوريا) </a:t>
            </a:r>
            <a:endParaRPr lang="en-US" sz="2400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622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1969"/>
    </mc:Choice>
    <mc:Fallback xmlns="">
      <p:transition spd="slow" advTm="621969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7038881" cy="959447"/>
          </a:xfrm>
        </p:spPr>
        <p:txBody>
          <a:bodyPr anchor="ctr"/>
          <a:lstStyle/>
          <a:p>
            <a:pPr marL="18892" indent="-18892"/>
            <a:r>
              <a:rPr lang="en-US" smtClean="0">
                <a:solidFill>
                  <a:schemeClr val="tx1"/>
                </a:solidFill>
              </a:rPr>
              <a:t>Pension liabilities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</p:nvPr>
        </p:nvGraphicFramePr>
        <p:xfrm>
          <a:off x="439357" y="2185640"/>
          <a:ext cx="6987354" cy="3642132"/>
        </p:xfrm>
        <a:graphic>
          <a:graphicData uri="http://schemas.openxmlformats.org/drawingml/2006/table">
            <a:tbl>
              <a:tblPr/>
              <a:tblGrid>
                <a:gridCol w="3493677"/>
                <a:gridCol w="3493677"/>
              </a:tblGrid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Franc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8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New </a:t>
                      </a:r>
                      <a:r>
                        <a:rPr lang="nl-NL" sz="2400" b="0" dirty="0" err="1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Zealand</a:t>
                      </a:r>
                      <a:endParaRPr lang="nl-NL" sz="2400" b="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3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United </a:t>
                      </a:r>
                      <a:r>
                        <a:rPr lang="nl-NL" sz="2400" b="0" dirty="0" err="1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Kingdom</a:t>
                      </a:r>
                      <a:endParaRPr lang="nl-NL" sz="2400" b="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2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Australi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3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United </a:t>
                      </a:r>
                      <a:r>
                        <a:rPr lang="nl-NL" sz="2400" b="0" dirty="0" err="1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States</a:t>
                      </a:r>
                      <a:endParaRPr lang="nl-NL" sz="2400" b="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3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07022">
                <a:tc>
                  <a:txBody>
                    <a:bodyPr/>
                    <a:lstStyle/>
                    <a:p>
                      <a:pPr algn="l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Canad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2400" b="0" dirty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2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 bwMode="auto">
          <a:xfrm>
            <a:off x="439359" y="354094"/>
            <a:ext cx="839152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5pPr>
            <a:lvl6pPr marL="3429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6pPr>
            <a:lvl7pPr marL="6858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7pPr>
            <a:lvl8pPr marL="10287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8pPr>
            <a:lvl9pPr marL="1371600"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kern="0" dirty="0">
                <a:solidFill>
                  <a:srgbClr val="0C2678"/>
                </a:solidFill>
                <a:latin typeface="Verdana"/>
              </a:rPr>
              <a:t>Fixed assets as a percentage of government </a:t>
            </a:r>
            <a:r>
              <a:rPr lang="en-US" kern="0" dirty="0" smtClean="0">
                <a:solidFill>
                  <a:srgbClr val="0C2678"/>
                </a:solidFill>
                <a:latin typeface="Verdana"/>
              </a:rPr>
              <a:t>revenues</a:t>
            </a:r>
          </a:p>
          <a:p>
            <a:endParaRPr lang="en-US" kern="0" dirty="0">
              <a:solidFill>
                <a:srgbClr val="0C2678"/>
              </a:solidFill>
              <a:latin typeface="Verdana"/>
            </a:endParaRPr>
          </a:p>
          <a:p>
            <a:endParaRPr lang="en-US" kern="0" dirty="0" smtClean="0">
              <a:solidFill>
                <a:srgbClr val="0C2678"/>
              </a:solidFill>
              <a:latin typeface="Verdana"/>
            </a:endParaRPr>
          </a:p>
          <a:p>
            <a:r>
              <a:rPr lang="en-US" kern="0" dirty="0" smtClean="0">
                <a:solidFill>
                  <a:srgbClr val="0C2678"/>
                </a:solidFill>
                <a:latin typeface="Verdana"/>
              </a:rPr>
              <a:t>Can you think of the reasons for these large differences?</a:t>
            </a:r>
            <a:endParaRPr lang="en-US" kern="0" dirty="0">
              <a:solidFill>
                <a:srgbClr val="0C2678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33522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7038881" cy="959447"/>
          </a:xfrm>
        </p:spPr>
        <p:txBody>
          <a:bodyPr anchor="ctr"/>
          <a:lstStyle/>
          <a:p>
            <a:pPr algn="r" rtl="1"/>
            <a:r>
              <a:rPr lang="fa-IR" b="1" dirty="0">
                <a:cs typeface="B Titr" pitchFamily="2" charset="-78"/>
              </a:rPr>
              <a:t>بدهي هاي بازنشستگي </a:t>
            </a:r>
            <a:endParaRPr lang="en-US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83845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800"/>
              </a:lnSpc>
            </a:pPr>
            <a:r>
              <a:rPr lang="nl-NL" sz="2800" b="0" kern="1200" dirty="0" smtClean="0">
                <a:solidFill>
                  <a:srgbClr val="002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aring ‘debt + pension liability’ is more informative than comparing ‘debt’</a:t>
            </a:r>
            <a:endParaRPr lang="en-US" sz="2800" b="0" kern="1200" dirty="0">
              <a:solidFill>
                <a:srgbClr val="00277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/>
        </p:nvGraphicFramePr>
        <p:xfrm>
          <a:off x="1538274" y="1716413"/>
          <a:ext cx="6116384" cy="332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0647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 rtl="1">
              <a:lnSpc>
                <a:spcPct val="100000"/>
              </a:lnSpc>
            </a:pPr>
            <a:r>
              <a:rPr lang="fa-IR" sz="2800" dirty="0">
                <a:cs typeface="B Titr" pitchFamily="2" charset="-78"/>
              </a:rPr>
              <a:t>مقايسه بدهي + بدهي هاي بازنشستگي ،  بسيار مفيد تر </a:t>
            </a:r>
            <a:r>
              <a:rPr lang="fa-IR" sz="2800" dirty="0">
                <a:cs typeface="B Titr" pitchFamily="2" charset="-78"/>
              </a:rPr>
              <a:t>از </a:t>
            </a:r>
            <a:r>
              <a:rPr lang="fa-IR" sz="2800" dirty="0" smtClean="0">
                <a:cs typeface="B Titr" pitchFamily="2" charset="-78"/>
              </a:rPr>
              <a:t>مقايسه </a:t>
            </a:r>
            <a:r>
              <a:rPr lang="fa-IR" sz="2800" dirty="0">
                <a:cs typeface="B Titr" pitchFamily="2" charset="-78"/>
              </a:rPr>
              <a:t>«بدهي» </a:t>
            </a:r>
            <a:r>
              <a:rPr lang="fa-IR" sz="2800" dirty="0" smtClean="0">
                <a:cs typeface="B Titr" pitchFamily="2" charset="-78"/>
              </a:rPr>
              <a:t>به طور صرف خواهد بود</a:t>
            </a:r>
            <a:endParaRPr lang="en-US" sz="2800" dirty="0">
              <a:cs typeface="B Titr" pitchFamily="2" charset="-78"/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/>
        </p:nvGraphicFramePr>
        <p:xfrm>
          <a:off x="1538274" y="1716413"/>
          <a:ext cx="6116384" cy="332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418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1729199" y="2628901"/>
            <a:ext cx="7038881" cy="959447"/>
          </a:xfrm>
        </p:spPr>
        <p:txBody>
          <a:bodyPr anchor="ctr"/>
          <a:lstStyle/>
          <a:p>
            <a:pPr marL="18892" indent="-18892"/>
            <a:r>
              <a:rPr lang="en-US" smtClean="0">
                <a:solidFill>
                  <a:schemeClr val="tx1"/>
                </a:solidFill>
              </a:rPr>
              <a:t>Government liabilities usually far exceed assets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5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/>
          </p:cNvSpPr>
          <p:nvPr>
            <p:ph type="ctrTitle"/>
          </p:nvPr>
        </p:nvSpPr>
        <p:spPr>
          <a:xfrm>
            <a:off x="0" y="2628901"/>
            <a:ext cx="9045146" cy="959447"/>
          </a:xfrm>
        </p:spPr>
        <p:txBody>
          <a:bodyPr anchor="ctr"/>
          <a:lstStyle/>
          <a:p>
            <a:pPr algn="r" rtl="1"/>
            <a:r>
              <a:rPr lang="fa-IR" b="1" dirty="0">
                <a:cs typeface="B Titr" pitchFamily="2" charset="-78"/>
              </a:rPr>
              <a:t>بدهي هاي دولتي معمولاً فراتر از دارايي ها مي باشد . </a:t>
            </a:r>
            <a:endParaRPr lang="en-US" b="1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0012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5635987"/>
              </p:ext>
            </p:extLst>
          </p:nvPr>
        </p:nvGraphicFramePr>
        <p:xfrm>
          <a:off x="968190" y="2052757"/>
          <a:ext cx="7484930" cy="3643316"/>
        </p:xfrm>
        <a:graphic>
          <a:graphicData uri="http://schemas.openxmlformats.org/drawingml/2006/table">
            <a:tbl>
              <a:tblPr/>
              <a:tblGrid>
                <a:gridCol w="2399456"/>
                <a:gridCol w="2324044"/>
                <a:gridCol w="1380715"/>
                <a:gridCol w="1380715"/>
              </a:tblGrid>
              <a:tr h="2869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overnment</a:t>
                      </a: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kern="120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et worth in bln </a:t>
                      </a:r>
                      <a:br>
                        <a:rPr lang="en-US" sz="2000" b="1" kern="120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kern="120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cal currency</a:t>
                      </a:r>
                      <a:endParaRPr lang="en-US" sz="2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kern="120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DP in bln</a:t>
                      </a:r>
                      <a:endParaRPr lang="en-US" sz="2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kern="120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% GDP</a:t>
                      </a:r>
                      <a:endParaRPr lang="en-US" sz="2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France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central</a:t>
                      </a:r>
                      <a:endParaRPr kumimoji="0" lang="en-US" sz="2000" b="1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2,239</a:t>
                      </a:r>
                      <a:endParaRPr lang="nl-NL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2,114</a:t>
                      </a: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06</a:t>
                      </a:r>
                      <a:r>
                        <a:rPr lang="en-US" sz="2000" kern="120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US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federal </a:t>
                      </a:r>
                      <a:endParaRPr kumimoji="0" lang="en-US" sz="2000" b="1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16,909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6,768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01</a:t>
                      </a:r>
                      <a:r>
                        <a:rPr lang="en-US" sz="2000" kern="120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UK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l-NL" sz="2000" baseline="0" smtClean="0">
                          <a:solidFill>
                            <a:srgbClr val="0C2678"/>
                          </a:solidFill>
                        </a:rPr>
                        <a:t>w</a:t>
                      </a:r>
                      <a:r>
                        <a:rPr lang="nl-NL" sz="2000" smtClean="0">
                          <a:solidFill>
                            <a:srgbClr val="0C2678"/>
                          </a:solidFill>
                        </a:rPr>
                        <a:t>hole government</a:t>
                      </a:r>
                      <a:endParaRPr kumimoji="0" lang="en-US" sz="2000" b="1" i="0" u="none" strike="noStrike" kern="1200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1,629</a:t>
                      </a:r>
                      <a:endParaRPr lang="en-US" sz="2000" kern="120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,713</a:t>
                      </a: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95</a:t>
                      </a:r>
                      <a:r>
                        <a:rPr lang="en-US" sz="2000" kern="120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Canada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federal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611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,894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r>
                        <a:rPr lang="en-US" sz="2000" kern="120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Australia-federal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264</a:t>
                      </a:r>
                      <a:endParaRPr lang="en-US" sz="2000" kern="120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,586</a:t>
                      </a: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  <a:endParaRPr lang="en-US" sz="2000" kern="120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nl-NL" sz="2000" kern="1200" dirty="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nl-NL" sz="2000" kern="1200" baseline="0" dirty="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2000" kern="1200" baseline="0" dirty="0" err="1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Zealand</a:t>
                      </a:r>
                      <a:r>
                        <a:rPr lang="en-US" sz="2000" kern="1200" dirty="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l-NL" sz="2000" kern="1200" baseline="0" dirty="0" err="1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central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+81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230</a:t>
                      </a:r>
                      <a:endParaRPr lang="en-US" sz="2000" kern="1200" dirty="0" smtClean="0">
                        <a:solidFill>
                          <a:srgbClr val="0C267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0" marR="66560" marT="34290" marB="3429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2000" kern="1200" smtClean="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+35</a:t>
                      </a:r>
                      <a:r>
                        <a:rPr lang="en-US" sz="2000" kern="1200">
                          <a:solidFill>
                            <a:srgbClr val="0C2678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042" marR="60500" marT="504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6118" y="749133"/>
            <a:ext cx="7994821" cy="472652"/>
          </a:xfrm>
        </p:spPr>
        <p:txBody>
          <a:bodyPr/>
          <a:lstStyle/>
          <a:p>
            <a:pPr>
              <a:lnSpc>
                <a:spcPts val="2800"/>
              </a:lnSpc>
            </a:pPr>
            <a:r>
              <a:rPr lang="nl-NL" sz="2800" b="0" kern="1200" dirty="0">
                <a:solidFill>
                  <a:srgbClr val="002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st governments have negative </a:t>
            </a:r>
            <a:r>
              <a:rPr lang="nl-NL" sz="2800" b="0" kern="1200">
                <a:solidFill>
                  <a:srgbClr val="002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 worth (= assets – liabilities</a:t>
            </a:r>
            <a:r>
              <a:rPr lang="nl-NL" sz="2800" b="0" kern="1200" smtClean="0">
                <a:solidFill>
                  <a:srgbClr val="002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mainly because of pension liabilities and public debt</a:t>
            </a:r>
            <a:endParaRPr lang="nl-NL" sz="2800" b="0" kern="1200" dirty="0">
              <a:solidFill>
                <a:srgbClr val="00277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36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9870217"/>
              </p:ext>
            </p:extLst>
          </p:nvPr>
        </p:nvGraphicFramePr>
        <p:xfrm>
          <a:off x="968190" y="2052757"/>
          <a:ext cx="7484930" cy="2967900"/>
        </p:xfrm>
        <a:graphic>
          <a:graphicData uri="http://schemas.openxmlformats.org/drawingml/2006/table">
            <a:tbl>
              <a:tblPr/>
              <a:tblGrid>
                <a:gridCol w="1194242"/>
                <a:gridCol w="1631092"/>
                <a:gridCol w="2434281"/>
                <a:gridCol w="2225315"/>
              </a:tblGrid>
              <a:tr h="286908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GDP</a:t>
                      </a: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 %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GDP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( به ميليارد )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رزش خالص به پول رايج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دولت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06%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2114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2239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فرانسه (دولت مركزي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01%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768/16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909/16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آمريكا(دولت فدرال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95%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713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629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نگليس (كل دولت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32 %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894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611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كانادا (دولت فدرال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7%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1586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264 - 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استراليا (دولت فدرال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2194"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35 % -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230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81 +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rtl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fa-IR" sz="15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B Titr" pitchFamily="2" charset="-78"/>
                        </a:rPr>
                        <a:t>نيوزيلند (دولت مركزي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B Titr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490" y="267210"/>
            <a:ext cx="8526161" cy="1227948"/>
          </a:xfrm>
        </p:spPr>
        <p:txBody>
          <a:bodyPr/>
          <a:lstStyle/>
          <a:p>
            <a:pPr algn="just" rtl="1">
              <a:lnSpc>
                <a:spcPct val="100000"/>
              </a:lnSpc>
            </a:pPr>
            <a:r>
              <a:rPr lang="fa-IR" sz="2800" dirty="0">
                <a:cs typeface="B Titr" pitchFamily="2" charset="-78"/>
              </a:rPr>
              <a:t>بسياري از دولت ها داراي ارزش خالص منفي مي </a:t>
            </a:r>
            <a:r>
              <a:rPr lang="fa-IR" sz="2800" dirty="0" smtClean="0">
                <a:cs typeface="B Titr" pitchFamily="2" charset="-78"/>
              </a:rPr>
              <a:t>باشند. </a:t>
            </a:r>
            <a:r>
              <a:rPr lang="en-US" sz="2800" dirty="0">
                <a:cs typeface="B Titr" pitchFamily="2" charset="-78"/>
              </a:rPr>
              <a:t/>
            </a:r>
            <a:br>
              <a:rPr lang="en-US" sz="2800" dirty="0">
                <a:cs typeface="B Titr" pitchFamily="2" charset="-78"/>
              </a:rPr>
            </a:br>
            <a:r>
              <a:rPr lang="fa-IR" sz="2800" dirty="0">
                <a:cs typeface="B Titr" pitchFamily="2" charset="-78"/>
              </a:rPr>
              <a:t>( بدهي ها – دارايي ها )  عمدتاً به خاطر بدهي عمومي و بدهي هاي صندوق بازنشستگي </a:t>
            </a:r>
            <a:endParaRPr lang="en-US" sz="2800" dirty="0">
              <a:cs typeface="B Titr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72179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STANDARD LLP">
  <a:themeElements>
    <a:clrScheme name="WHITE STANDARD LLP 6">
      <a:dk1>
        <a:srgbClr val="57FFFB"/>
      </a:dk1>
      <a:lt1>
        <a:srgbClr val="FFFFFF"/>
      </a:lt1>
      <a:dk2>
        <a:srgbClr val="0C2678"/>
      </a:dk2>
      <a:lt2>
        <a:srgbClr val="DED3B6"/>
      </a:lt2>
      <a:accent1>
        <a:srgbClr val="9773AE"/>
      </a:accent1>
      <a:accent2>
        <a:srgbClr val="DC8240"/>
      </a:accent2>
      <a:accent3>
        <a:srgbClr val="AAACBE"/>
      </a:accent3>
      <a:accent4>
        <a:srgbClr val="DADADA"/>
      </a:accent4>
      <a:accent5>
        <a:srgbClr val="C9BCD3"/>
      </a:accent5>
      <a:accent6>
        <a:srgbClr val="C77539"/>
      </a:accent6>
      <a:hlink>
        <a:srgbClr val="577D3D"/>
      </a:hlink>
      <a:folHlink>
        <a:srgbClr val="549CB5"/>
      </a:folHlink>
    </a:clrScheme>
    <a:fontScheme name="WHITE STANDARD LL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ts val="2200"/>
          </a:lnSpc>
          <a:spcBef>
            <a:spcPct val="0"/>
          </a:spcBef>
          <a:spcAft>
            <a:spcPct val="37000"/>
          </a:spcAft>
          <a:buClrTx/>
          <a:buSzTx/>
          <a:buFontTx/>
          <a:buNone/>
          <a:tabLst>
            <a:tab pos="5715000" algn="l"/>
          </a:tabLst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ts val="2200"/>
          </a:lnSpc>
          <a:spcBef>
            <a:spcPct val="0"/>
          </a:spcBef>
          <a:spcAft>
            <a:spcPct val="37000"/>
          </a:spcAft>
          <a:buClrTx/>
          <a:buSzTx/>
          <a:buFontTx/>
          <a:buNone/>
          <a:tabLst>
            <a:tab pos="5715000" algn="l"/>
          </a:tabLst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WHITE STANDARD LLP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STANDARD LLP 3">
        <a:dk1>
          <a:srgbClr val="A13D3A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4">
        <a:dk1>
          <a:srgbClr val="04D8D8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5">
        <a:dk1>
          <a:srgbClr val="B8FFFE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6">
        <a:dk1>
          <a:srgbClr val="57FFFB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WHITE STANDARD LLP">
  <a:themeElements>
    <a:clrScheme name="WHITE STANDARD LLP 6">
      <a:dk1>
        <a:srgbClr val="57FFFB"/>
      </a:dk1>
      <a:lt1>
        <a:srgbClr val="FFFFFF"/>
      </a:lt1>
      <a:dk2>
        <a:srgbClr val="0C2678"/>
      </a:dk2>
      <a:lt2>
        <a:srgbClr val="DED3B6"/>
      </a:lt2>
      <a:accent1>
        <a:srgbClr val="9773AE"/>
      </a:accent1>
      <a:accent2>
        <a:srgbClr val="DC8240"/>
      </a:accent2>
      <a:accent3>
        <a:srgbClr val="AAACBE"/>
      </a:accent3>
      <a:accent4>
        <a:srgbClr val="DADADA"/>
      </a:accent4>
      <a:accent5>
        <a:srgbClr val="C9BCD3"/>
      </a:accent5>
      <a:accent6>
        <a:srgbClr val="C77539"/>
      </a:accent6>
      <a:hlink>
        <a:srgbClr val="577D3D"/>
      </a:hlink>
      <a:folHlink>
        <a:srgbClr val="549CB5"/>
      </a:folHlink>
    </a:clrScheme>
    <a:fontScheme name="WHITE STANDARD LL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HITE STANDARD LLP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STANDARD LLP 3">
        <a:dk1>
          <a:srgbClr val="A13D3A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4">
        <a:dk1>
          <a:srgbClr val="04D8D8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5">
        <a:dk1>
          <a:srgbClr val="B8FFFE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6">
        <a:dk1>
          <a:srgbClr val="57FFFB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00FF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00FF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WHITE STANDARD LLP">
  <a:themeElements>
    <a:clrScheme name="WHITE STANDARD LLP 6">
      <a:dk1>
        <a:srgbClr val="57FFFB"/>
      </a:dk1>
      <a:lt1>
        <a:srgbClr val="FFFFFF"/>
      </a:lt1>
      <a:dk2>
        <a:srgbClr val="0C2678"/>
      </a:dk2>
      <a:lt2>
        <a:srgbClr val="DED3B6"/>
      </a:lt2>
      <a:accent1>
        <a:srgbClr val="9773AE"/>
      </a:accent1>
      <a:accent2>
        <a:srgbClr val="DC8240"/>
      </a:accent2>
      <a:accent3>
        <a:srgbClr val="AAACBE"/>
      </a:accent3>
      <a:accent4>
        <a:srgbClr val="DADADA"/>
      </a:accent4>
      <a:accent5>
        <a:srgbClr val="C9BCD3"/>
      </a:accent5>
      <a:accent6>
        <a:srgbClr val="C77539"/>
      </a:accent6>
      <a:hlink>
        <a:srgbClr val="577D3D"/>
      </a:hlink>
      <a:folHlink>
        <a:srgbClr val="549CB5"/>
      </a:folHlink>
    </a:clrScheme>
    <a:fontScheme name="WHITE STANDARD LL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HITE STANDARD LLP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STANDARD LLP 3">
        <a:dk1>
          <a:srgbClr val="A13D3A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4">
        <a:dk1>
          <a:srgbClr val="04D8D8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5">
        <a:dk1>
          <a:srgbClr val="B8FFFE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6">
        <a:dk1>
          <a:srgbClr val="57FFFB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WHITE STANDARD LLP">
  <a:themeElements>
    <a:clrScheme name="WHITE STANDARD LLP 1">
      <a:dk1>
        <a:srgbClr val="9CD100"/>
      </a:dk1>
      <a:lt1>
        <a:srgbClr val="FFFFFF"/>
      </a:lt1>
      <a:dk2>
        <a:srgbClr val="091D5D"/>
      </a:dk2>
      <a:lt2>
        <a:srgbClr val="FFFFFF"/>
      </a:lt2>
      <a:accent1>
        <a:srgbClr val="9773AE"/>
      </a:accent1>
      <a:accent2>
        <a:srgbClr val="DC8240"/>
      </a:accent2>
      <a:accent3>
        <a:srgbClr val="AAABB6"/>
      </a:accent3>
      <a:accent4>
        <a:srgbClr val="DADADA"/>
      </a:accent4>
      <a:accent5>
        <a:srgbClr val="C9BCD3"/>
      </a:accent5>
      <a:accent6>
        <a:srgbClr val="C77539"/>
      </a:accent6>
      <a:hlink>
        <a:srgbClr val="577D3D"/>
      </a:hlink>
      <a:folHlink>
        <a:srgbClr val="549CB5"/>
      </a:folHlink>
    </a:clrScheme>
    <a:fontScheme name="WHITE STANDARD LL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ts val="2200"/>
          </a:lnSpc>
          <a:spcBef>
            <a:spcPct val="0"/>
          </a:spcBef>
          <a:spcAft>
            <a:spcPct val="37000"/>
          </a:spcAft>
          <a:buClrTx/>
          <a:buSzTx/>
          <a:buFontTx/>
          <a:buNone/>
          <a:tabLst>
            <a:tab pos="5715000" algn="l"/>
          </a:tabLst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ts val="2200"/>
          </a:lnSpc>
          <a:spcBef>
            <a:spcPct val="0"/>
          </a:spcBef>
          <a:spcAft>
            <a:spcPct val="37000"/>
          </a:spcAft>
          <a:buClrTx/>
          <a:buSzTx/>
          <a:buFontTx/>
          <a:buNone/>
          <a:tabLst>
            <a:tab pos="5715000" algn="l"/>
          </a:tabLst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WHITE STANDARD LLP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STANDARD LLP 3">
        <a:dk1>
          <a:srgbClr val="A13D3A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4">
        <a:dk1>
          <a:srgbClr val="04D8D8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5">
        <a:dk1>
          <a:srgbClr val="B8FFFE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STANDARD LLP 6">
        <a:dk1>
          <a:srgbClr val="57FFFB"/>
        </a:dk1>
        <a:lt1>
          <a:srgbClr val="FFFFFF"/>
        </a:lt1>
        <a:dk2>
          <a:srgbClr val="0C2678"/>
        </a:dk2>
        <a:lt2>
          <a:srgbClr val="DED3B6"/>
        </a:lt2>
        <a:accent1>
          <a:srgbClr val="9773AE"/>
        </a:accent1>
        <a:accent2>
          <a:srgbClr val="DC8240"/>
        </a:accent2>
        <a:accent3>
          <a:srgbClr val="AAACBE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2007_Screen_Medium_27-94x21.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18_Blank 1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FFFFFF"/>
    </a:accent3>
    <a:accent4>
      <a:srgbClr val="000000"/>
    </a:accent4>
    <a:accent5>
      <a:srgbClr val="AAACBD"/>
    </a:accent5>
    <a:accent6>
      <a:srgbClr val="84C000"/>
    </a:accent6>
    <a:hlink>
      <a:srgbClr val="00A1DE"/>
    </a:hlink>
    <a:folHlink>
      <a:srgbClr val="72C7E7"/>
    </a:folHlink>
  </a:clrScheme>
</a:themeOverride>
</file>

<file path=ppt/theme/themeOverride2.xml><?xml version="1.0" encoding="utf-8"?>
<a:themeOverride xmlns:a="http://schemas.openxmlformats.org/drawingml/2006/main">
  <a:clrScheme name="Deloitte 2008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  <a:fontScheme name="18_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eloitte 2008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  <a:fontScheme name="18_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xample Slides</Template>
  <TotalTime>14939</TotalTime>
  <Words>4144</Words>
  <Application>Microsoft Office PowerPoint</Application>
  <PresentationFormat>On-screen Show (4:3)</PresentationFormat>
  <Paragraphs>915</Paragraphs>
  <Slides>96</Slides>
  <Notes>52</Notes>
  <HiddenSlides>0</HiddenSlides>
  <MMClips>0</MMClips>
  <ScaleCrop>false</ScaleCrop>
  <HeadingPairs>
    <vt:vector size="6" baseType="variant"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09" baseType="lpstr">
      <vt:lpstr>WHITE STANDARD LLP</vt:lpstr>
      <vt:lpstr>1_2007_Screen_Medium_27-94x21.59_18Nov08</vt:lpstr>
      <vt:lpstr>2_2007_Screen_Medium_27-94x21.59_18Nov08</vt:lpstr>
      <vt:lpstr>3_2007_Screen_Medium_27-94x21.59_18Nov08</vt:lpstr>
      <vt:lpstr>4_2007_Screen_Medium_27-94x21.59_18Nov08</vt:lpstr>
      <vt:lpstr>2_WHITE STANDARD LLP</vt:lpstr>
      <vt:lpstr>2007_Screen_Medium_27-94x21.59_18Nov08</vt:lpstr>
      <vt:lpstr>1_WHITE STANDARD LLP</vt:lpstr>
      <vt:lpstr>5_2007_Screen_Medium_27-94x21.59_18Nov08</vt:lpstr>
      <vt:lpstr>6_2007_Screen_Medium_27-94x21.59_18Nov08</vt:lpstr>
      <vt:lpstr>6_WHITE STANDARD LLP</vt:lpstr>
      <vt:lpstr>Default Design</vt:lpstr>
      <vt:lpstr>think-cell Slide</vt:lpstr>
      <vt:lpstr>Accounting for Assets and Liabilities</vt:lpstr>
      <vt:lpstr>حسابداري دارايي ها و بدهي ها </vt:lpstr>
      <vt:lpstr>Outline of presentation</vt:lpstr>
      <vt:lpstr>موارد اصلي سخنراني </vt:lpstr>
      <vt:lpstr>Fixed assets</vt:lpstr>
      <vt:lpstr>دارائي هاي ثابت </vt:lpstr>
      <vt:lpstr>Mapping of two classifications: Iran-IPSAS</vt:lpstr>
      <vt:lpstr>دوطبقه از دارائيها:  منقول و غير منقول – ايران - IPAS</vt:lpstr>
      <vt:lpstr>PowerPoint Presentation</vt:lpstr>
      <vt:lpstr>PowerPoint Presentation</vt:lpstr>
      <vt:lpstr>IPSAS 17 is applicable in accounting for property, plant and equipment:</vt:lpstr>
      <vt:lpstr>استاندارد شماره  17 IPSAS درخصوص حسابداري اموال ، ماشين آلات و تجهيزات </vt:lpstr>
      <vt:lpstr>Recognition</vt:lpstr>
      <vt:lpstr>شناسايي : </vt:lpstr>
      <vt:lpstr>Component accounting</vt:lpstr>
      <vt:lpstr>حسابداري اجزاء : </vt:lpstr>
      <vt:lpstr>Measurement at recognition</vt:lpstr>
      <vt:lpstr>ارزش گذاري در زمان شناسايي </vt:lpstr>
      <vt:lpstr>Measurement subsequent to initial recognition</vt:lpstr>
      <vt:lpstr>ارزش گذاري بعد از شناسايي اوليه : </vt:lpstr>
      <vt:lpstr>Depreciable amount</vt:lpstr>
      <vt:lpstr>مبلغ استهلاک </vt:lpstr>
      <vt:lpstr>Useful life</vt:lpstr>
      <vt:lpstr>عمر مفيد :</vt:lpstr>
      <vt:lpstr>Depreciation</vt:lpstr>
      <vt:lpstr> استهلاك : </vt:lpstr>
      <vt:lpstr>Country example: bridge infrastructure in Tasmania</vt:lpstr>
      <vt:lpstr>مثال كشوري : فراساختار  پل در تاسمانيا (استراليا)</vt:lpstr>
      <vt:lpstr>Depreciation of bridge infrastructure</vt:lpstr>
      <vt:lpstr>استهلاک پل</vt:lpstr>
      <vt:lpstr>Measurement options on transition  (opening balance sheet) </vt:lpstr>
      <vt:lpstr>انتخاب هاي موجود براي ثبت (مانده افتتاحيه در ترازنامه )  </vt:lpstr>
      <vt:lpstr>Example: Asset valuation in Turkey</vt:lpstr>
      <vt:lpstr> مثال : ارزش گذاري دارايي در تركيه</vt:lpstr>
      <vt:lpstr>قانون مديريت و كنترل مالي 2003 تركيه</vt:lpstr>
      <vt:lpstr>Decree of recording the immovables of public institutions (2006) Turkey</vt:lpstr>
      <vt:lpstr> مصوبه مربوط به ثبت اموال غير منقول موسسات دولتي (2006) </vt:lpstr>
      <vt:lpstr>Valuation basis: market value Turkey</vt:lpstr>
      <vt:lpstr>پايه ارزش گذاري : قيمت بازار </vt:lpstr>
      <vt:lpstr>اساس ارزش گذاري : ارزش اسمي  </vt:lpstr>
      <vt:lpstr>Threshold for the Recognition of Fixed Assets</vt:lpstr>
      <vt:lpstr>آستانه شناسايي دارائيهاي ثابت</vt:lpstr>
      <vt:lpstr>Materiality </vt:lpstr>
      <vt:lpstr>اهميت </vt:lpstr>
      <vt:lpstr>International Civil Aviation Organization – 2013 financial statements</vt:lpstr>
      <vt:lpstr>صورت هاي مالي سازمان هوانوردي در سال 2013 </vt:lpstr>
      <vt:lpstr>World Health Organization – 2014 financial statements</vt:lpstr>
      <vt:lpstr>  سازمان بهداشت جهاني : صورت هاي مالي 2014  </vt:lpstr>
      <vt:lpstr>Hyperinflation</vt:lpstr>
      <vt:lpstr>تورم بسیار بالا</vt:lpstr>
      <vt:lpstr>IPSAS 10 Financial Reporting in Hyperinflationary Economies</vt:lpstr>
      <vt:lpstr>گزارشگری مالي در اقتصادهاي داراي تورم بسيار بالا بر مبناي استاندارد شماره 10 IPSAS </vt:lpstr>
      <vt:lpstr>When shall financial statements shall be restated in accordance with IPSAS 10? Indicators of hyperinflation include:</vt:lpstr>
      <vt:lpstr>چه زماني گزارش مالي بايد براساس استاندارد شماره  IPSAS 10 مجدداً تنظيم گردند ؟ شاخص هاي تورم بسيار بالا عبارتند از : </vt:lpstr>
      <vt:lpstr>Iran is not a hyperinflationary economy</vt:lpstr>
      <vt:lpstr>ايران يك اقتصاد داراي تورم بسيار بالا نيست </vt:lpstr>
      <vt:lpstr>Tax asset</vt:lpstr>
      <vt:lpstr>دارايي هاي مالياتي </vt:lpstr>
      <vt:lpstr>Taxes</vt:lpstr>
      <vt:lpstr>ماليات ها </vt:lpstr>
      <vt:lpstr>Taxable event. Some examples</vt:lpstr>
      <vt:lpstr>رویدادهای مالیاتی – چند مثال</vt:lpstr>
      <vt:lpstr>Measurement of tax assets</vt:lpstr>
      <vt:lpstr>اندازه گيري دارايي هاي مالياتي </vt:lpstr>
      <vt:lpstr>Tax gap</vt:lpstr>
      <vt:lpstr>شكاف مالياتي </vt:lpstr>
      <vt:lpstr>Statistical models will take into account:</vt:lpstr>
      <vt:lpstr>مدل هاي آماري موارد زير را لحاظ خواهند نمود: </vt:lpstr>
      <vt:lpstr>Tax receivable in UK (2013/2014) </vt:lpstr>
      <vt:lpstr>ماليات  دريافتي در انگلستان 2014 – 2013 </vt:lpstr>
      <vt:lpstr>Tax assets in selected countries</vt:lpstr>
      <vt:lpstr>دارايي هاي مالياتي در برخي از كشورها </vt:lpstr>
      <vt:lpstr>Tax asset - Aging analysis  (Canada 2014/2015)</vt:lpstr>
      <vt:lpstr>دارايي مالياتي – تجزيه و تحليل زماني  (كانادا  2015 – 2014 )</vt:lpstr>
      <vt:lpstr>Public Debt Disclosures:  Best Practices</vt:lpstr>
      <vt:lpstr>اعلام(افشا) بدهي هاي عمومي  تجربيات موفق </vt:lpstr>
      <vt:lpstr>By maturity and carrying amount (discounted cash flow) and nominal value Department of Infrastructure, Victoria</vt:lpstr>
      <vt:lpstr>تا زمان سررسيد و ميزان انتقال يافته ( جريان نقدي تنزل شده ) و ارزش اسمي </vt:lpstr>
      <vt:lpstr>Sensitivity analysis (interest rate risk) Australia</vt:lpstr>
      <vt:lpstr>تجزيه و تحليل حساسيت (ريسك نرخ بهره )  (استراليا) </vt:lpstr>
      <vt:lpstr>Movement during the year Canada</vt:lpstr>
      <vt:lpstr>تغيير در طول سال ( كانادا )</vt:lpstr>
      <vt:lpstr>PowerPoint Presentation</vt:lpstr>
      <vt:lpstr>PowerPoint Presentation</vt:lpstr>
      <vt:lpstr>PowerPoint Presentation</vt:lpstr>
      <vt:lpstr>PowerPoint Presentation</vt:lpstr>
      <vt:lpstr>Foreign and Domestic, Current and Non-current, General Government Sector State of Victoria</vt:lpstr>
      <vt:lpstr>داخلي و خارجي ، جاري و غير جاري ، بخش عمومي دولت (ايالت ويكتوريا) </vt:lpstr>
      <vt:lpstr>Pension liabilities</vt:lpstr>
      <vt:lpstr>بدهي هاي بازنشستگي </vt:lpstr>
      <vt:lpstr>Comparing ‘debt + pension liability’ is more informative than comparing ‘debt’</vt:lpstr>
      <vt:lpstr>مقايسه بدهي + بدهي هاي بازنشستگي ،  بسيار مفيد تر از مقايسه «بدهي» به طور صرف خواهد بود</vt:lpstr>
      <vt:lpstr>Government liabilities usually far exceed assets</vt:lpstr>
      <vt:lpstr>بدهي هاي دولتي معمولاً فراتر از دارايي ها مي باشد . </vt:lpstr>
      <vt:lpstr>Most governments have negative net worth (= assets – liabilities) mainly because of pension liabilities and public debt</vt:lpstr>
      <vt:lpstr>بسياري از دولت ها داراي ارزش خالص منفي مي باشند.  ( بدهي ها – دارايي ها )  عمدتاً به خاطر بدهي عمومي و بدهي هاي صندوق بازنشستگي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an Schaik, Frans (NL - Rotterdam)</dc:creator>
  <cp:lastModifiedBy>MR</cp:lastModifiedBy>
  <cp:revision>1632</cp:revision>
  <cp:lastPrinted>2003-08-11T14:00:49Z</cp:lastPrinted>
  <dcterms:created xsi:type="dcterms:W3CDTF">2004-05-05T15:43:18Z</dcterms:created>
  <dcterms:modified xsi:type="dcterms:W3CDTF">2016-08-28T20:25:11Z</dcterms:modified>
</cp:coreProperties>
</file>